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4" r:id="rId3"/>
  </p:sldMasterIdLst>
  <p:notesMasterIdLst>
    <p:notesMasterId r:id="rId6"/>
  </p:notesMasterIdLst>
  <p:handoutMasterIdLst>
    <p:handoutMasterId r:id="rId18"/>
  </p:handoutMasterIdLst>
  <p:sldIdLst>
    <p:sldId id="280" r:id="rId4"/>
    <p:sldId id="590" r:id="rId5"/>
    <p:sldId id="591" r:id="rId7"/>
    <p:sldId id="632" r:id="rId8"/>
    <p:sldId id="624" r:id="rId9"/>
    <p:sldId id="639" r:id="rId10"/>
    <p:sldId id="638" r:id="rId11"/>
    <p:sldId id="628" r:id="rId12"/>
    <p:sldId id="629" r:id="rId13"/>
    <p:sldId id="634" r:id="rId14"/>
    <p:sldId id="635" r:id="rId15"/>
    <p:sldId id="633" r:id="rId16"/>
    <p:sldId id="636"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19" autoAdjust="0"/>
  </p:normalViewPr>
  <p:slideViewPr>
    <p:cSldViewPr snapToGrid="0">
      <p:cViewPr>
        <p:scale>
          <a:sx n="64" d="100"/>
          <a:sy n="64" d="100"/>
        </p:scale>
        <p:origin x="48" y="36"/>
      </p:cViewPr>
      <p:guideLst/>
    </p:cSldViewPr>
  </p:slideViewPr>
  <p:notesTextViewPr>
    <p:cViewPr>
      <p:scale>
        <a:sx n="1" d="1"/>
        <a:sy n="1" d="1"/>
      </p:scale>
      <p:origin x="0" y="0"/>
    </p:cViewPr>
  </p:notesTextViewPr>
  <p:notesViewPr>
    <p:cSldViewPr snapToGrid="0">
      <p:cViewPr varScale="1">
        <p:scale>
          <a:sx n="48" d="100"/>
          <a:sy n="48" d="100"/>
        </p:scale>
        <p:origin x="2752" y="48"/>
      </p:cViewPr>
      <p:guideLst>
        <p:guide orient="horz" pos="2847"/>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notesMaster" Target="notesMasters/notesMaster1.xml"/><Relationship Id="rId5" Type="http://schemas.openxmlformats.org/officeDocument/2006/relationships/slide" Target="slides/slide2.xml"/><Relationship Id="rId4" Type="http://schemas.openxmlformats.org/officeDocument/2006/relationships/slide" Target="slides/slide1.xml"/><Relationship Id="rId3" Type="http://schemas.openxmlformats.org/officeDocument/2006/relationships/slideMaster" Target="slideMasters/slideMaster2.xml"/><Relationship Id="rId21" Type="http://schemas.openxmlformats.org/officeDocument/2006/relationships/tableStyles" Target="tableStyles.xml"/><Relationship Id="rId20" Type="http://schemas.openxmlformats.org/officeDocument/2006/relationships/viewProps" Target="viewProps.xml"/><Relationship Id="rId2" Type="http://schemas.openxmlformats.org/officeDocument/2006/relationships/theme" Target="theme/theme1.xml"/><Relationship Id="rId19" Type="http://schemas.openxmlformats.org/officeDocument/2006/relationships/presProps" Target="presProps.xml"/><Relationship Id="rId18" Type="http://schemas.openxmlformats.org/officeDocument/2006/relationships/handoutMaster" Target="handoutMasters/handoutMaster1.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Supraja\Downloads\COVID-19_Vaccine_Distribution_Allocations_by_Jurisdiction_-_Pfizer.csv"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pivotSource>
    <c:name>[COVID-19_Vaccine_Distribution_Allocations_by_Jurisdiction_-_Pfizer.csv]Sheet4!PivotTable11</c:name>
    <c:fmtId val="-1"/>
  </c:pivotSource>
  <c:chart>
    <c:autoTitleDeleted val="1"/>
    <c:plotArea>
      <c:layout/>
      <c:barChart>
        <c:barDir val="col"/>
        <c:grouping val="clustered"/>
        <c:varyColors val="1"/>
        <c:ser>
          <c:idx val="0"/>
          <c:order val="0"/>
          <c:tx>
            <c:strRef>
              <c:f>'[COVID-19_Vaccine_Distribution_Allocations_by_Jurisdiction_-_Pfizer.csv]Sheet4'!$F$2</c:f>
              <c:strCache>
                <c:ptCount val="1"/>
                <c:pt idx="0">
                  <c:v>Total</c:v>
                </c:pt>
              </c:strCache>
            </c:strRef>
          </c:tx>
          <c:spPr/>
          <c:invertIfNegative val="0"/>
          <c:dPt>
            <c:idx val="0"/>
            <c:invertIfNegative val="0"/>
            <c:bubble3D val="0"/>
            <c:spPr>
              <a:solidFill>
                <a:schemeClr val="accent1"/>
              </a:solidFill>
              <a:ln>
                <a:noFill/>
              </a:ln>
              <a:effectLst/>
            </c:spPr>
          </c:dPt>
          <c:dPt>
            <c:idx val="1"/>
            <c:invertIfNegative val="0"/>
            <c:bubble3D val="0"/>
            <c:spPr>
              <a:solidFill>
                <a:schemeClr val="accent2"/>
              </a:solidFill>
              <a:ln>
                <a:noFill/>
              </a:ln>
              <a:effectLst/>
            </c:spPr>
          </c:dPt>
          <c:dPt>
            <c:idx val="2"/>
            <c:invertIfNegative val="0"/>
            <c:bubble3D val="0"/>
            <c:spPr>
              <a:solidFill>
                <a:schemeClr val="accent3"/>
              </a:solidFill>
              <a:ln>
                <a:noFill/>
              </a:ln>
              <a:effectLst/>
            </c:spPr>
          </c:dPt>
          <c:dLbls>
            <c:spPr>
              <a:noFill/>
              <a:ln>
                <a:noFill/>
              </a:ln>
              <a:effectLst/>
            </c:spPr>
            <c:txPr>
              <a:bodyPr rot="0" spcFirstLastPara="0" vertOverflow="ellipsis" vert="horz" wrap="square" lIns="38100" tIns="19050" rIns="38100" bIns="19050" anchor="ctr" anchorCtr="1"/>
              <a:lstStyle/>
              <a:p>
                <a:pPr>
                  <a:defRPr lang="en-US"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OVID-19_Vaccine_Distribution_Allocations_by_Jurisdiction_-_Pfizer.csv]Sheet4'!$E$3:$E$6</c:f>
              <c:strCache>
                <c:ptCount val="3"/>
                <c:pt idx="0">
                  <c:v>Janaseen</c:v>
                </c:pt>
                <c:pt idx="1">
                  <c:v>Moderna</c:v>
                </c:pt>
                <c:pt idx="2">
                  <c:v>Pfizer</c:v>
                </c:pt>
              </c:strCache>
            </c:strRef>
          </c:cat>
          <c:val>
            <c:numRef>
              <c:f>'[COVID-19_Vaccine_Distribution_Allocations_by_Jurisdiction_-_Pfizer.csv]Sheet4'!$F$3:$F$6</c:f>
              <c:numCache>
                <c:formatCode>m/d/yyyy;@</c:formatCode>
                <c:ptCount val="3"/>
                <c:pt idx="0">
                  <c:v>44256</c:v>
                </c:pt>
                <c:pt idx="1">
                  <c:v>44186</c:v>
                </c:pt>
                <c:pt idx="2">
                  <c:v>44179</c:v>
                </c:pt>
              </c:numCache>
            </c:numRef>
          </c:val>
        </c:ser>
        <c:dLbls>
          <c:showLegendKey val="0"/>
          <c:showVal val="1"/>
          <c:showCatName val="0"/>
          <c:showSerName val="0"/>
          <c:showPercent val="0"/>
          <c:showBubbleSize val="0"/>
        </c:dLbls>
        <c:gapWidth val="219"/>
        <c:overlap val="-27"/>
        <c:axId val="20601753"/>
        <c:axId val="339596569"/>
      </c:barChart>
      <c:catAx>
        <c:axId val="2060175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339596569"/>
        <c:crosses val="autoZero"/>
        <c:auto val="1"/>
        <c:lblAlgn val="ctr"/>
        <c:lblOffset val="100"/>
        <c:noMultiLvlLbl val="0"/>
      </c:catAx>
      <c:valAx>
        <c:axId val="339596569"/>
        <c:scaling>
          <c:orientation val="minMax"/>
        </c:scaling>
        <c:delete val="1"/>
        <c:axPos val="l"/>
        <c:majorGridlines>
          <c:spPr>
            <a:ln w="9525" cap="flat" cmpd="sng" algn="ctr">
              <a:solidFill>
                <a:schemeClr val="tx1">
                  <a:lumMod val="15000"/>
                  <a:lumOff val="85000"/>
                </a:schemeClr>
              </a:solidFill>
              <a:round/>
            </a:ln>
            <a:effectLst/>
          </c:spPr>
        </c:majorGridlines>
        <c:numFmt formatCode="m/d/yyyy;@"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20601753"/>
        <c:crosses val="autoZero"/>
        <c:crossBetween val="between"/>
        <c:majorUnit val="10"/>
      </c:valAx>
      <c:spPr>
        <a:noFill/>
        <a:ln>
          <a:noFill/>
        </a:ln>
        <a:effectLst/>
      </c:spPr>
    </c:plotArea>
    <c:plotVisOnly val="1"/>
    <c:dispBlanksAs val="gap"/>
    <c:showDLblsOverMax val="0"/>
  </c:chart>
  <c:spPr>
    <a:solidFill>
      <a:schemeClr val="bg1"/>
    </a:solidFill>
    <a:ln w="28575" cap="flat" cmpd="sng" algn="ctr">
      <a:solidFill>
        <a:schemeClr val="tx1"/>
      </a:solidFill>
      <a:prstDash val="solid"/>
      <a:round/>
    </a:ln>
    <a:effectLst/>
  </c:spPr>
  <c:txPr>
    <a:bodyPr/>
    <a:lstStyle/>
    <a:p>
      <a:pPr>
        <a:defRPr lang="en-US"/>
      </a:pPr>
    </a:p>
  </c:txPr>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A59685-300E-4D8A-B523-937223CEA840}"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5B5FA4-A16A-4B7E-96BB-4DD9F0840BE1}"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5B5FA4-A16A-4B7E-96BB-4DD9F0840BE1}" type="slidenum">
              <a:rPr lang="en-US" smtClean="0"/>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Image Placeholder 1"/>
          <p:cNvSpPr/>
          <p:nvPr>
            <p:ph type="sldImg" idx="2"/>
          </p:nvPr>
        </p:nvSpPr>
        <p:spPr/>
      </p:sp>
      <p:sp>
        <p:nvSpPr>
          <p:cNvPr id="3" name="Text Placeholder 2"/>
          <p:cNvSpPr/>
          <p:nvPr>
            <p:ph type="body" idx="3"/>
          </p:nvPr>
        </p:nvSpPr>
        <p:spPr/>
        <p:txBody>
          <a:bodyPr/>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Image Placeholder 1"/>
          <p:cNvSpPr/>
          <p:nvPr>
            <p:ph type="sldImg" idx="2"/>
          </p:nvPr>
        </p:nvSpPr>
        <p:spPr/>
      </p:sp>
      <p:sp>
        <p:nvSpPr>
          <p:cNvPr id="3" name="Text Placeholder 2"/>
          <p:cNvSpPr/>
          <p:nvPr>
            <p:ph type="body" idx="3"/>
          </p:nvPr>
        </p:nvSpPr>
        <p:spPr/>
        <p:txBody>
          <a:bodyPr/>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Image Placeholder 1"/>
          <p:cNvSpPr/>
          <p:nvPr>
            <p:ph type="sldImg" idx="2"/>
          </p:nvPr>
        </p:nvSpPr>
        <p:spPr/>
      </p:sp>
      <p:sp>
        <p:nvSpPr>
          <p:cNvPr id="3" name="Text Placeholder 2"/>
          <p:cNvSpPr/>
          <p:nvPr>
            <p:ph type="body" idx="3"/>
          </p:nvPr>
        </p:nvSpPr>
        <p:spPr/>
        <p:txBody>
          <a:bodyPr/>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5.xml"/><Relationship Id="rId8" Type="http://schemas.openxmlformats.org/officeDocument/2006/relationships/oleObject" Target="../embeddings/oleObject2.bin"/><Relationship Id="rId7" Type="http://schemas.openxmlformats.org/officeDocument/2006/relationships/tags" Target="../tags/tag4.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6.emf"/><Relationship Id="rId3" Type="http://schemas.openxmlformats.org/officeDocument/2006/relationships/oleObject" Target="../embeddings/oleObject1.bin"/><Relationship Id="rId2" Type="http://schemas.openxmlformats.org/officeDocument/2006/relationships/tags" Target="../tags/tag1.xml"/><Relationship Id="rId11" Type="http://schemas.openxmlformats.org/officeDocument/2006/relationships/vmlDrawing" Target="../drawings/vmlDrawing1.vml"/><Relationship Id="rId10"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oleObject" Target="../embeddings/oleObject4.bin"/><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image" Target="../media/image6.emf"/><Relationship Id="rId3"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5.bin"/><Relationship Id="rId3" Type="http://schemas.openxmlformats.org/officeDocument/2006/relationships/tags" Target="../tags/tag10.xml"/><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247728"/>
            <a:ext cx="10353762" cy="543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1F1B079-7EF0-44EE-B798-BCC497C9F3B2}"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normAutofit/>
          </a:bodyPr>
          <a:lstStyle>
            <a:lvl1pPr>
              <a:defRPr sz="40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8FF70A8-1D13-4657-95F0-A9EA54967B8D}"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1EB90AC-71BD-4C7F-8ACA-7B3F18292E63}"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endParaRPr lang="en-US" sz="8000" dirty="0">
              <a:solidFill>
                <a:schemeClr val="tx1"/>
              </a:solidFill>
              <a:effectLst/>
            </a:endParaRP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endParaRPr lang="en-US" sz="8000" dirty="0">
              <a:solidFill>
                <a:schemeClr val="tx1"/>
              </a:solidFill>
              <a:effectLst/>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4E6EFC2C-8905-46F0-B443-CE905B76BA01}"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8" name="Text Placeholder 3"/>
          <p:cNvSpPr>
            <a:spLocks noGrp="1"/>
          </p:cNvSpPr>
          <p:nvPr>
            <p:ph type="body" sz="half" idx="15"/>
          </p:nvPr>
        </p:nvSpPr>
        <p:spPr>
          <a:xfrm>
            <a:off x="91379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9" name="Text Placeholder 4"/>
          <p:cNvSpPr>
            <a:spLocks noGrp="1"/>
          </p:cNvSpPr>
          <p:nvPr>
            <p:ph type="body" sz="quarter" idx="3"/>
          </p:nvPr>
        </p:nvSpPr>
        <p:spPr>
          <a:xfrm>
            <a:off x="4446711" y="1885949"/>
            <a:ext cx="3300984" cy="764783"/>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10" name="Text Placeholder 3"/>
          <p:cNvSpPr>
            <a:spLocks noGrp="1"/>
          </p:cNvSpPr>
          <p:nvPr>
            <p:ph type="body" sz="half" idx="16"/>
          </p:nvPr>
        </p:nvSpPr>
        <p:spPr>
          <a:xfrm>
            <a:off x="444143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11" name="Text Placeholder 4"/>
          <p:cNvSpPr>
            <a:spLocks noGrp="1"/>
          </p:cNvSpPr>
          <p:nvPr>
            <p:ph type="body" sz="quarter" idx="13"/>
          </p:nvPr>
        </p:nvSpPr>
        <p:spPr>
          <a:xfrm>
            <a:off x="7966572"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12" name="Text Placeholder 3"/>
          <p:cNvSpPr>
            <a:spLocks noGrp="1"/>
          </p:cNvSpPr>
          <p:nvPr>
            <p:ph type="body" sz="half" idx="17"/>
          </p:nvPr>
        </p:nvSpPr>
        <p:spPr>
          <a:xfrm>
            <a:off x="7966572" y="2768110"/>
            <a:ext cx="3300984" cy="302308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3" name="Date Placeholder 2"/>
          <p:cNvSpPr>
            <a:spLocks noGrp="1"/>
          </p:cNvSpPr>
          <p:nvPr>
            <p:ph type="dt" sz="half" idx="10"/>
          </p:nvPr>
        </p:nvSpPr>
        <p:spPr/>
        <p:txBody>
          <a:bodyPr/>
          <a:lstStyle/>
          <a:p>
            <a:fld id="{D9079DC3-C9B5-499E-9140-0DC28B7074E2}"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572443"/>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3" name="Date Placeholder 2"/>
          <p:cNvSpPr>
            <a:spLocks noGrp="1"/>
          </p:cNvSpPr>
          <p:nvPr>
            <p:ph type="dt" sz="half" idx="10"/>
          </p:nvPr>
        </p:nvSpPr>
        <p:spPr/>
        <p:txBody>
          <a:bodyPr/>
          <a:lstStyle/>
          <a:p>
            <a:fld id="{30BB33EA-E472-4D22-9C03-A9C14AA21CED}"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4"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p:nvPr>
            <p:custDataLst>
              <p:tags r:id="rId5"/>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10" name="Straight Connector 5"/>
          <p:cNvCxnSpPr/>
          <p:nvPr>
            <p:custDataLst>
              <p:tags r:id="rId6"/>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0" y="0"/>
            <a:ext cx="12192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err="1">
              <a:ln>
                <a:noFill/>
              </a:ln>
              <a:solidFill>
                <a:srgbClr val="9F958F">
                  <a:lumMod val="50000"/>
                </a:srgbClr>
              </a:solidFill>
              <a:effectLst/>
              <a:uLnTx/>
              <a:uFillTx/>
              <a:latin typeface="Arial" panose="020B0604020202020204"/>
              <a:ea typeface="+mn-ea"/>
              <a:cs typeface="+mn-cs"/>
            </a:endParaRPr>
          </a:p>
        </p:txBody>
      </p:sp>
      <p:graphicFrame>
        <p:nvGraphicFramePr>
          <p:cNvPr id="13" name="Object 3" hidden="1"/>
          <p:cNvGraphicFramePr>
            <a:graphicFrameLocks noChangeAspect="1"/>
          </p:cNvGraphicFramePr>
          <p:nvPr>
            <p:custDataLst>
              <p:tags r:id="rId7"/>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5" name="think-cell Slide" r:id="rId8" imgW="12700" imgH="12700" progId="">
                  <p:embed/>
                </p:oleObj>
              </mc:Choice>
              <mc:Fallback>
                <p:oleObj name="think-cell Slide" r:id="rId8"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p:nvPr userDrawn="1">
            <p:custDataLst>
              <p:tags r:id="rId9"/>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dirty="0">
              <a:ln>
                <a:noFill/>
              </a:ln>
              <a:solidFill>
                <a:srgbClr val="00264A"/>
              </a:solidFill>
              <a:effectLst/>
              <a:uLnTx/>
              <a:uFillTx/>
              <a:latin typeface="Arial" panose="020B0604020202020204"/>
              <a:ea typeface="+mn-ea"/>
              <a:cs typeface="Arial" panose="020B0604020202020204" pitchFamily="34" charset="0"/>
            </a:endParaRPr>
          </a:p>
        </p:txBody>
      </p:sp>
      <p:pic>
        <p:nvPicPr>
          <p:cNvPr id="15" name="Image 11" descr="HandsPanel_shutterstock_72073621.png"/>
          <p:cNvPicPr>
            <a:picLocks noChangeAspect="1"/>
          </p:cNvPicPr>
          <p:nvPr userDrawn="1"/>
        </p:nvPicPr>
        <p:blipFill>
          <a:blip r:embed="rId10" cstate="print"/>
          <a:srcRect b="8012"/>
          <a:stretch>
            <a:fillRect/>
          </a:stretch>
        </p:blipFill>
        <p:spPr bwMode="auto">
          <a:xfrm>
            <a:off x="1" y="855663"/>
            <a:ext cx="12190047" cy="5521325"/>
          </a:xfrm>
          <a:prstGeom prst="rect">
            <a:avLst/>
          </a:prstGeom>
          <a:noFill/>
          <a:ln w="9525">
            <a:noFill/>
            <a:miter lim="800000"/>
            <a:headEnd/>
            <a:tailEnd/>
          </a:ln>
        </p:spPr>
      </p:pic>
      <p:sp>
        <p:nvSpPr>
          <p:cNvPr id="2" name="Titre 1"/>
          <p:cNvSpPr>
            <a:spLocks noGrp="1"/>
          </p:cNvSpPr>
          <p:nvPr>
            <p:ph type="title"/>
          </p:nvPr>
        </p:nvSpPr>
        <p:spPr/>
        <p:txBody>
          <a:bodyPr/>
          <a:lstStyle/>
          <a:p>
            <a:r>
              <a:rPr lang="en-US"/>
              <a:t>Click to edit Master title style</a:t>
            </a:r>
            <a:endParaRPr lang="en-US" dirty="0"/>
          </a:p>
        </p:txBody>
      </p:sp>
      <p:sp>
        <p:nvSpPr>
          <p:cNvPr id="6" name="Espace réservé du contenu 5"/>
          <p:cNvSpPr>
            <a:spLocks noGrp="1"/>
          </p:cNvSpPr>
          <p:nvPr>
            <p:ph sz="quarter" idx="10"/>
          </p:nvPr>
        </p:nvSpPr>
        <p:spPr>
          <a:xfrm>
            <a:off x="3522404" y="1442606"/>
            <a:ext cx="5466304" cy="3533155"/>
          </a:xfrm>
        </p:spPr>
        <p:txBody>
          <a:bodyPr/>
          <a:lstStyle>
            <a:lvl1pPr>
              <a:defRPr/>
            </a:lvl1pPr>
            <a:lvl2pPr>
              <a:buFont typeface="Arial" panose="020B0604020202020204" pitchFamily="34" charset="0"/>
              <a:buChar char="•"/>
              <a:defRPr/>
            </a:lvl2pPr>
          </a:lstStyle>
          <a:p>
            <a:pPr lvl="0"/>
            <a:r>
              <a:rPr lang="en-US" noProof="0"/>
              <a:t>Click to edit Master text styles</a:t>
            </a:r>
            <a:endParaRPr lang="en-US" noProof="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0"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4"/>
          <p:cNvSpPr/>
          <p:nvPr>
            <p:custDataLst>
              <p:tags r:id="rId5"/>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9" name="Straight Connector 5"/>
          <p:cNvCxnSpPr/>
          <p:nvPr>
            <p:custDataLst>
              <p:tags r:id="rId6"/>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7"/>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spid="_x0000_s5161" name="think-cell Slide" r:id="rId8" imgW="12700" imgH="12700" progId="">
                  <p:embed/>
                </p:oleObj>
              </mc:Choice>
              <mc:Fallback>
                <p:oleObj name="think-cell Slide" r:id="rId8"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98021" y="1494766"/>
            <a:ext cx="11793979" cy="4643751"/>
          </a:xfrm>
        </p:spPr>
        <p:txBody>
          <a:bodyPr/>
          <a:lstStyle>
            <a:lvl1pPr>
              <a:defRPr b="0"/>
            </a:lvl1pPr>
            <a:lvl5pPr>
              <a:buNone/>
              <a:defRPr/>
            </a:lvl5p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2" cstate="print"/>
          <a:srcRect l="240" t="179" r="380" b="511"/>
          <a:stretch>
            <a:fillRect/>
          </a:stretch>
        </p:blipFill>
        <p:spPr bwMode="auto">
          <a:xfrm>
            <a:off x="0" y="1080743"/>
            <a:ext cx="12192000" cy="5807075"/>
          </a:xfrm>
          <a:prstGeom prst="rect">
            <a:avLst/>
          </a:prstGeom>
          <a:noFill/>
          <a:ln w="9525">
            <a:noFill/>
            <a:miter lim="800000"/>
            <a:headEnd/>
            <a:tailEnd/>
          </a:ln>
        </p:spPr>
      </p:pic>
      <p:graphicFrame>
        <p:nvGraphicFramePr>
          <p:cNvPr id="5" name="Object 2"/>
          <p:cNvGraphicFramePr>
            <a:graphicFrameLocks noChangeAspect="1"/>
          </p:cNvGraphicFramePr>
          <p:nvPr>
            <p:custDataLst>
              <p:tags r:id="rId3"/>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4" name="think-cell Slide" r:id="rId4" imgW="12700" imgH="12700" progId="">
                  <p:embed/>
                </p:oleObj>
              </mc:Choice>
              <mc:Fallback>
                <p:oleObj name="think-cell Slide" r:id="rId4" imgW="12700" imgH="12700" progId="">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6"/>
            </p:custDataLst>
          </p:nvPr>
        </p:nvSpPr>
        <p:spPr bwMode="auto">
          <a:xfrm>
            <a:off x="-1954" y="1"/>
            <a:ext cx="12193954"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1" fmla="*/ 0 w 10685085"/>
              <a:gd name="connsiteY0-2" fmla="*/ 0 h 684481"/>
              <a:gd name="connsiteX1-3" fmla="*/ 10685085 w 10685085"/>
              <a:gd name="connsiteY1-4" fmla="*/ 0 h 684481"/>
              <a:gd name="connsiteX2-5" fmla="*/ 10685085 w 10685085"/>
              <a:gd name="connsiteY2-6" fmla="*/ 684481 h 684481"/>
              <a:gd name="connsiteX3-7" fmla="*/ 525849 w 10685085"/>
              <a:gd name="connsiteY3-8" fmla="*/ 678410 h 684481"/>
              <a:gd name="connsiteX4-9" fmla="*/ 0 w 10685085"/>
              <a:gd name="connsiteY4-10" fmla="*/ 684481 h 684481"/>
              <a:gd name="connsiteX5" fmla="*/ 0 w 10685085"/>
              <a:gd name="connsiteY5" fmla="*/ 0 h 684481"/>
              <a:gd name="connsiteX0-11" fmla="*/ 0 w 10685085"/>
              <a:gd name="connsiteY0-12" fmla="*/ 0 h 684481"/>
              <a:gd name="connsiteX1-13" fmla="*/ 10685085 w 10685085"/>
              <a:gd name="connsiteY1-14" fmla="*/ 0 h 684481"/>
              <a:gd name="connsiteX2-15" fmla="*/ 10685085 w 10685085"/>
              <a:gd name="connsiteY2-16" fmla="*/ 684481 h 684481"/>
              <a:gd name="connsiteX3-17" fmla="*/ 1063736 w 10685085"/>
              <a:gd name="connsiteY3-18" fmla="*/ 670939 h 684481"/>
              <a:gd name="connsiteX4-19" fmla="*/ 525849 w 10685085"/>
              <a:gd name="connsiteY4-20" fmla="*/ 678410 h 684481"/>
              <a:gd name="connsiteX5-21" fmla="*/ 0 w 10685085"/>
              <a:gd name="connsiteY5-22" fmla="*/ 684481 h 684481"/>
              <a:gd name="connsiteX6" fmla="*/ 0 w 10685085"/>
              <a:gd name="connsiteY6" fmla="*/ 0 h 684481"/>
              <a:gd name="connsiteX0-23" fmla="*/ 0 w 10685085"/>
              <a:gd name="connsiteY0-24" fmla="*/ 0 h 684481"/>
              <a:gd name="connsiteX1-25" fmla="*/ 10685085 w 10685085"/>
              <a:gd name="connsiteY1-26" fmla="*/ 0 h 684481"/>
              <a:gd name="connsiteX2-27" fmla="*/ 10685085 w 10685085"/>
              <a:gd name="connsiteY2-28" fmla="*/ 684481 h 684481"/>
              <a:gd name="connsiteX3-29" fmla="*/ 1063736 w 10685085"/>
              <a:gd name="connsiteY3-30" fmla="*/ 670939 h 684481"/>
              <a:gd name="connsiteX4-31" fmla="*/ 525849 w 10685085"/>
              <a:gd name="connsiteY4-32" fmla="*/ 678410 h 684481"/>
              <a:gd name="connsiteX5-33" fmla="*/ 0 w 10685085"/>
              <a:gd name="connsiteY5-34" fmla="*/ 684481 h 684481"/>
              <a:gd name="connsiteX6-35" fmla="*/ 0 w 10685085"/>
              <a:gd name="connsiteY6-36" fmla="*/ 0 h 684481"/>
              <a:gd name="connsiteX0-37" fmla="*/ 0 w 10685085"/>
              <a:gd name="connsiteY0-38" fmla="*/ 0 h 1022049"/>
              <a:gd name="connsiteX1-39" fmla="*/ 10685085 w 10685085"/>
              <a:gd name="connsiteY1-40" fmla="*/ 0 h 1022049"/>
              <a:gd name="connsiteX2-41" fmla="*/ 10685085 w 10685085"/>
              <a:gd name="connsiteY2-42" fmla="*/ 684481 h 1022049"/>
              <a:gd name="connsiteX3-43" fmla="*/ 1063736 w 10685085"/>
              <a:gd name="connsiteY3-44" fmla="*/ 670939 h 1022049"/>
              <a:gd name="connsiteX4-45" fmla="*/ 533320 w 10685085"/>
              <a:gd name="connsiteY4-46" fmla="*/ 1022049 h 1022049"/>
              <a:gd name="connsiteX5-47" fmla="*/ 0 w 10685085"/>
              <a:gd name="connsiteY5-48" fmla="*/ 684481 h 1022049"/>
              <a:gd name="connsiteX6-49" fmla="*/ 0 w 10685085"/>
              <a:gd name="connsiteY6-50" fmla="*/ 0 h 1022049"/>
              <a:gd name="connsiteX0-51" fmla="*/ 0 w 10685085"/>
              <a:gd name="connsiteY0-52" fmla="*/ 0 h 1022049"/>
              <a:gd name="connsiteX1-53" fmla="*/ 10685085 w 10685085"/>
              <a:gd name="connsiteY1-54" fmla="*/ 0 h 1022049"/>
              <a:gd name="connsiteX2-55" fmla="*/ 10685085 w 10685085"/>
              <a:gd name="connsiteY2-56" fmla="*/ 684481 h 1022049"/>
              <a:gd name="connsiteX3-57" fmla="*/ 1063736 w 10685085"/>
              <a:gd name="connsiteY3-58" fmla="*/ 670939 h 1022049"/>
              <a:gd name="connsiteX4-59" fmla="*/ 533320 w 10685085"/>
              <a:gd name="connsiteY4-60" fmla="*/ 1022049 h 1022049"/>
              <a:gd name="connsiteX5-61" fmla="*/ 0 w 10685085"/>
              <a:gd name="connsiteY5-62" fmla="*/ 684481 h 1022049"/>
              <a:gd name="connsiteX6-63" fmla="*/ 0 w 10685085"/>
              <a:gd name="connsiteY6-64" fmla="*/ 0 h 1022049"/>
              <a:gd name="connsiteX0-65" fmla="*/ 0 w 10685085"/>
              <a:gd name="connsiteY0-66" fmla="*/ 0 h 1022049"/>
              <a:gd name="connsiteX1-67" fmla="*/ 10685085 w 10685085"/>
              <a:gd name="connsiteY1-68" fmla="*/ 0 h 1022049"/>
              <a:gd name="connsiteX2-69" fmla="*/ 10685085 w 10685085"/>
              <a:gd name="connsiteY2-70" fmla="*/ 684481 h 1022049"/>
              <a:gd name="connsiteX3-71" fmla="*/ 1063736 w 10685085"/>
              <a:gd name="connsiteY3-72" fmla="*/ 670939 h 1022049"/>
              <a:gd name="connsiteX4-73" fmla="*/ 533320 w 10685085"/>
              <a:gd name="connsiteY4-74" fmla="*/ 1022049 h 1022049"/>
              <a:gd name="connsiteX5-75" fmla="*/ 0 w 10685085"/>
              <a:gd name="connsiteY5-76" fmla="*/ 684481 h 1022049"/>
              <a:gd name="connsiteX6-77" fmla="*/ 0 w 10685085"/>
              <a:gd name="connsiteY6-78" fmla="*/ 0 h 1022049"/>
              <a:gd name="connsiteX0-79" fmla="*/ 0 w 10685085"/>
              <a:gd name="connsiteY0-80" fmla="*/ 0 h 1022049"/>
              <a:gd name="connsiteX1-81" fmla="*/ 10685085 w 10685085"/>
              <a:gd name="connsiteY1-82" fmla="*/ 0 h 1022049"/>
              <a:gd name="connsiteX2-83" fmla="*/ 10685085 w 10685085"/>
              <a:gd name="connsiteY2-84" fmla="*/ 684481 h 1022049"/>
              <a:gd name="connsiteX3-85" fmla="*/ 1063736 w 10685085"/>
              <a:gd name="connsiteY3-86" fmla="*/ 670939 h 1022049"/>
              <a:gd name="connsiteX4-87" fmla="*/ 533320 w 10685085"/>
              <a:gd name="connsiteY4-88" fmla="*/ 1022049 h 1022049"/>
              <a:gd name="connsiteX5-89" fmla="*/ 0 w 10685085"/>
              <a:gd name="connsiteY5-90" fmla="*/ 684481 h 1022049"/>
              <a:gd name="connsiteX6-91" fmla="*/ 0 w 10685085"/>
              <a:gd name="connsiteY6-92" fmla="*/ 0 h 1022049"/>
              <a:gd name="connsiteX0-93" fmla="*/ 0 w 10685085"/>
              <a:gd name="connsiteY0-94" fmla="*/ 0 h 1022049"/>
              <a:gd name="connsiteX1-95" fmla="*/ 10685085 w 10685085"/>
              <a:gd name="connsiteY1-96" fmla="*/ 0 h 1022049"/>
              <a:gd name="connsiteX2-97" fmla="*/ 10685085 w 10685085"/>
              <a:gd name="connsiteY2-98" fmla="*/ 684481 h 1022049"/>
              <a:gd name="connsiteX3-99" fmla="*/ 1063736 w 10685085"/>
              <a:gd name="connsiteY3-100" fmla="*/ 670939 h 1022049"/>
              <a:gd name="connsiteX4-101" fmla="*/ 533320 w 10685085"/>
              <a:gd name="connsiteY4-102" fmla="*/ 1022049 h 1022049"/>
              <a:gd name="connsiteX5-103" fmla="*/ 0 w 10685085"/>
              <a:gd name="connsiteY5-104" fmla="*/ 684481 h 1022049"/>
              <a:gd name="connsiteX6-105" fmla="*/ 0 w 10685085"/>
              <a:gd name="connsiteY6-106" fmla="*/ 0 h 1022049"/>
              <a:gd name="connsiteX0-107" fmla="*/ 0 w 10685085"/>
              <a:gd name="connsiteY0-108" fmla="*/ 0 h 1022049"/>
              <a:gd name="connsiteX1-109" fmla="*/ 10685085 w 10685085"/>
              <a:gd name="connsiteY1-110" fmla="*/ 0 h 1022049"/>
              <a:gd name="connsiteX2-111" fmla="*/ 10685085 w 10685085"/>
              <a:gd name="connsiteY2-112" fmla="*/ 684481 h 1022049"/>
              <a:gd name="connsiteX3-113" fmla="*/ 10222758 w 10685085"/>
              <a:gd name="connsiteY3-114" fmla="*/ 678410 h 1022049"/>
              <a:gd name="connsiteX4-115" fmla="*/ 1063736 w 10685085"/>
              <a:gd name="connsiteY4-116" fmla="*/ 670939 h 1022049"/>
              <a:gd name="connsiteX5-117" fmla="*/ 533320 w 10685085"/>
              <a:gd name="connsiteY5-118" fmla="*/ 1022049 h 1022049"/>
              <a:gd name="connsiteX6-119" fmla="*/ 0 w 10685085"/>
              <a:gd name="connsiteY6-120" fmla="*/ 684481 h 1022049"/>
              <a:gd name="connsiteX7" fmla="*/ 0 w 10685085"/>
              <a:gd name="connsiteY7" fmla="*/ 0 h 1022049"/>
              <a:gd name="connsiteX0-121" fmla="*/ 0 w 10685085"/>
              <a:gd name="connsiteY0-122" fmla="*/ 0 h 1022049"/>
              <a:gd name="connsiteX1-123" fmla="*/ 10685085 w 10685085"/>
              <a:gd name="connsiteY1-124" fmla="*/ 0 h 1022049"/>
              <a:gd name="connsiteX2-125" fmla="*/ 10685085 w 10685085"/>
              <a:gd name="connsiteY2-126" fmla="*/ 303491 h 1022049"/>
              <a:gd name="connsiteX3-127" fmla="*/ 10222758 w 10685085"/>
              <a:gd name="connsiteY3-128" fmla="*/ 678410 h 1022049"/>
              <a:gd name="connsiteX4-129" fmla="*/ 1063736 w 10685085"/>
              <a:gd name="connsiteY4-130" fmla="*/ 670939 h 1022049"/>
              <a:gd name="connsiteX5-131" fmla="*/ 533320 w 10685085"/>
              <a:gd name="connsiteY5-132" fmla="*/ 1022049 h 1022049"/>
              <a:gd name="connsiteX6-133" fmla="*/ 0 w 10685085"/>
              <a:gd name="connsiteY6-134" fmla="*/ 684481 h 1022049"/>
              <a:gd name="connsiteX7-135" fmla="*/ 0 w 10685085"/>
              <a:gd name="connsiteY7-136" fmla="*/ 0 h 1022049"/>
              <a:gd name="connsiteX0-137" fmla="*/ 0 w 10685085"/>
              <a:gd name="connsiteY0-138" fmla="*/ 0 h 1022049"/>
              <a:gd name="connsiteX1-139" fmla="*/ 10685085 w 10685085"/>
              <a:gd name="connsiteY1-140" fmla="*/ 0 h 1022049"/>
              <a:gd name="connsiteX2-141" fmla="*/ 10685085 w 10685085"/>
              <a:gd name="connsiteY2-142" fmla="*/ 303491 h 1022049"/>
              <a:gd name="connsiteX3-143" fmla="*/ 10222758 w 10685085"/>
              <a:gd name="connsiteY3-144" fmla="*/ 678410 h 1022049"/>
              <a:gd name="connsiteX4-145" fmla="*/ 1063736 w 10685085"/>
              <a:gd name="connsiteY4-146" fmla="*/ 670939 h 1022049"/>
              <a:gd name="connsiteX5-147" fmla="*/ 533320 w 10685085"/>
              <a:gd name="connsiteY5-148" fmla="*/ 1022049 h 1022049"/>
              <a:gd name="connsiteX6-149" fmla="*/ 0 w 10685085"/>
              <a:gd name="connsiteY6-150" fmla="*/ 684481 h 1022049"/>
              <a:gd name="connsiteX7-151" fmla="*/ 0 w 10685085"/>
              <a:gd name="connsiteY7-152" fmla="*/ 0 h 1022049"/>
              <a:gd name="connsiteX0-153" fmla="*/ 0 w 10685085"/>
              <a:gd name="connsiteY0-154" fmla="*/ 0 h 1022049"/>
              <a:gd name="connsiteX1-155" fmla="*/ 10685085 w 10685085"/>
              <a:gd name="connsiteY1-156" fmla="*/ 0 h 1022049"/>
              <a:gd name="connsiteX2-157" fmla="*/ 10685085 w 10685085"/>
              <a:gd name="connsiteY2-158" fmla="*/ 303491 h 1022049"/>
              <a:gd name="connsiteX3-159" fmla="*/ 10222758 w 10685085"/>
              <a:gd name="connsiteY3-160" fmla="*/ 678410 h 1022049"/>
              <a:gd name="connsiteX4-161" fmla="*/ 1063736 w 10685085"/>
              <a:gd name="connsiteY4-162" fmla="*/ 670939 h 1022049"/>
              <a:gd name="connsiteX5-163" fmla="*/ 533320 w 10685085"/>
              <a:gd name="connsiteY5-164" fmla="*/ 1022049 h 1022049"/>
              <a:gd name="connsiteX6-165" fmla="*/ 0 w 10685085"/>
              <a:gd name="connsiteY6-166" fmla="*/ 684481 h 1022049"/>
              <a:gd name="connsiteX7-167" fmla="*/ 0 w 10685085"/>
              <a:gd name="connsiteY7-168" fmla="*/ 0 h 1022049"/>
              <a:gd name="connsiteX0-169" fmla="*/ 0 w 10685085"/>
              <a:gd name="connsiteY0-170" fmla="*/ 0 h 1022049"/>
              <a:gd name="connsiteX1-171" fmla="*/ 10685085 w 10685085"/>
              <a:gd name="connsiteY1-172" fmla="*/ 0 h 1022049"/>
              <a:gd name="connsiteX2-173" fmla="*/ 10685085 w 10685085"/>
              <a:gd name="connsiteY2-174" fmla="*/ 303491 h 1022049"/>
              <a:gd name="connsiteX3-175" fmla="*/ 10222758 w 10685085"/>
              <a:gd name="connsiteY3-176" fmla="*/ 678410 h 1022049"/>
              <a:gd name="connsiteX4-177" fmla="*/ 1063736 w 10685085"/>
              <a:gd name="connsiteY4-178" fmla="*/ 670939 h 1022049"/>
              <a:gd name="connsiteX5-179" fmla="*/ 533320 w 10685085"/>
              <a:gd name="connsiteY5-180" fmla="*/ 1022049 h 1022049"/>
              <a:gd name="connsiteX6-181" fmla="*/ 0 w 10685085"/>
              <a:gd name="connsiteY6-182" fmla="*/ 684481 h 1022049"/>
              <a:gd name="connsiteX7-183" fmla="*/ 0 w 10685085"/>
              <a:gd name="connsiteY7-184" fmla="*/ 0 h 1022049"/>
              <a:gd name="connsiteX0-185" fmla="*/ 0 w 10685085"/>
              <a:gd name="connsiteY0-186" fmla="*/ 0 h 1022049"/>
              <a:gd name="connsiteX1-187" fmla="*/ 10685085 w 10685085"/>
              <a:gd name="connsiteY1-188" fmla="*/ 0 h 1022049"/>
              <a:gd name="connsiteX2-189" fmla="*/ 10685085 w 10685085"/>
              <a:gd name="connsiteY2-190" fmla="*/ 303491 h 1022049"/>
              <a:gd name="connsiteX3-191" fmla="*/ 10222758 w 10685085"/>
              <a:gd name="connsiteY3-192" fmla="*/ 678410 h 1022049"/>
              <a:gd name="connsiteX4-193" fmla="*/ 1063736 w 10685085"/>
              <a:gd name="connsiteY4-194" fmla="*/ 670939 h 1022049"/>
              <a:gd name="connsiteX5-195" fmla="*/ 533320 w 10685085"/>
              <a:gd name="connsiteY5-196" fmla="*/ 1022049 h 1022049"/>
              <a:gd name="connsiteX6-197" fmla="*/ 0 w 10685085"/>
              <a:gd name="connsiteY6-198" fmla="*/ 684481 h 1022049"/>
              <a:gd name="connsiteX7-199" fmla="*/ 0 w 10685085"/>
              <a:gd name="connsiteY7-200" fmla="*/ 0 h 1022049"/>
              <a:gd name="connsiteX0-201" fmla="*/ 0 w 10685085"/>
              <a:gd name="connsiteY0-202" fmla="*/ 0 h 1022049"/>
              <a:gd name="connsiteX1-203" fmla="*/ 10685085 w 10685085"/>
              <a:gd name="connsiteY1-204" fmla="*/ 0 h 1022049"/>
              <a:gd name="connsiteX2-205" fmla="*/ 10685085 w 10685085"/>
              <a:gd name="connsiteY2-206" fmla="*/ 303491 h 1022049"/>
              <a:gd name="connsiteX3-207" fmla="*/ 10222758 w 10685085"/>
              <a:gd name="connsiteY3-208" fmla="*/ 678410 h 1022049"/>
              <a:gd name="connsiteX4-209" fmla="*/ 1063736 w 10685085"/>
              <a:gd name="connsiteY4-210" fmla="*/ 670939 h 1022049"/>
              <a:gd name="connsiteX5-211" fmla="*/ 533320 w 10685085"/>
              <a:gd name="connsiteY5-212" fmla="*/ 1022049 h 1022049"/>
              <a:gd name="connsiteX6-213" fmla="*/ 0 w 10685085"/>
              <a:gd name="connsiteY6-214" fmla="*/ 684481 h 1022049"/>
              <a:gd name="connsiteX7-215" fmla="*/ 0 w 10685085"/>
              <a:gd name="connsiteY7-216" fmla="*/ 0 h 1022049"/>
              <a:gd name="connsiteX0-217" fmla="*/ 0 w 10685085"/>
              <a:gd name="connsiteY0-218" fmla="*/ 0 h 1022049"/>
              <a:gd name="connsiteX1-219" fmla="*/ 10685085 w 10685085"/>
              <a:gd name="connsiteY1-220" fmla="*/ 0 h 1022049"/>
              <a:gd name="connsiteX2-221" fmla="*/ 10685085 w 10685085"/>
              <a:gd name="connsiteY2-222" fmla="*/ 303491 h 1022049"/>
              <a:gd name="connsiteX3-223" fmla="*/ 10222758 w 10685085"/>
              <a:gd name="connsiteY3-224" fmla="*/ 678410 h 1022049"/>
              <a:gd name="connsiteX4-225" fmla="*/ 1157465 w 10685085"/>
              <a:gd name="connsiteY4-226" fmla="*/ 670939 h 1022049"/>
              <a:gd name="connsiteX5-227" fmla="*/ 533320 w 10685085"/>
              <a:gd name="connsiteY5-228" fmla="*/ 1022049 h 1022049"/>
              <a:gd name="connsiteX6-229" fmla="*/ 0 w 10685085"/>
              <a:gd name="connsiteY6-230" fmla="*/ 684481 h 1022049"/>
              <a:gd name="connsiteX7-231" fmla="*/ 0 w 10685085"/>
              <a:gd name="connsiteY7-232" fmla="*/ 0 h 1022049"/>
              <a:gd name="connsiteX0-233" fmla="*/ 0 w 10685085"/>
              <a:gd name="connsiteY0-234" fmla="*/ 0 h 1022049"/>
              <a:gd name="connsiteX1-235" fmla="*/ 10685085 w 10685085"/>
              <a:gd name="connsiteY1-236" fmla="*/ 0 h 1022049"/>
              <a:gd name="connsiteX2-237" fmla="*/ 10685085 w 10685085"/>
              <a:gd name="connsiteY2-238" fmla="*/ 303491 h 1022049"/>
              <a:gd name="connsiteX3-239" fmla="*/ 10222758 w 10685085"/>
              <a:gd name="connsiteY3-240" fmla="*/ 678410 h 1022049"/>
              <a:gd name="connsiteX4-241" fmla="*/ 1157465 w 10685085"/>
              <a:gd name="connsiteY4-242" fmla="*/ 670939 h 1022049"/>
              <a:gd name="connsiteX5-243" fmla="*/ 533320 w 10685085"/>
              <a:gd name="connsiteY5-244" fmla="*/ 1022049 h 1022049"/>
              <a:gd name="connsiteX6-245" fmla="*/ 0 w 10685085"/>
              <a:gd name="connsiteY6-246" fmla="*/ 684481 h 1022049"/>
              <a:gd name="connsiteX7-247" fmla="*/ 0 w 10685085"/>
              <a:gd name="connsiteY7-248" fmla="*/ 0 h 1022049"/>
              <a:gd name="connsiteX0-249" fmla="*/ 0 w 10685085"/>
              <a:gd name="connsiteY0-250" fmla="*/ 0 h 1022049"/>
              <a:gd name="connsiteX1-251" fmla="*/ 10685085 w 10685085"/>
              <a:gd name="connsiteY1-252" fmla="*/ 0 h 1022049"/>
              <a:gd name="connsiteX2-253" fmla="*/ 10685085 w 10685085"/>
              <a:gd name="connsiteY2-254" fmla="*/ 303491 h 1022049"/>
              <a:gd name="connsiteX3-255" fmla="*/ 10222758 w 10685085"/>
              <a:gd name="connsiteY3-256" fmla="*/ 678410 h 1022049"/>
              <a:gd name="connsiteX4-257" fmla="*/ 1157465 w 10685085"/>
              <a:gd name="connsiteY4-258" fmla="*/ 670939 h 1022049"/>
              <a:gd name="connsiteX5-259" fmla="*/ 533320 w 10685085"/>
              <a:gd name="connsiteY5-260" fmla="*/ 1022049 h 1022049"/>
              <a:gd name="connsiteX6-261" fmla="*/ 23183 w 10685085"/>
              <a:gd name="connsiteY6-262" fmla="*/ 684481 h 1022049"/>
              <a:gd name="connsiteX7-263" fmla="*/ 0 w 10685085"/>
              <a:gd name="connsiteY7-264" fmla="*/ 0 h 1022049"/>
              <a:gd name="connsiteX0-265" fmla="*/ 0 w 10673494"/>
              <a:gd name="connsiteY0-266" fmla="*/ 5825 h 1022049"/>
              <a:gd name="connsiteX1-267" fmla="*/ 10673494 w 10673494"/>
              <a:gd name="connsiteY1-268" fmla="*/ 0 h 1022049"/>
              <a:gd name="connsiteX2-269" fmla="*/ 10673494 w 10673494"/>
              <a:gd name="connsiteY2-270" fmla="*/ 303491 h 1022049"/>
              <a:gd name="connsiteX3-271" fmla="*/ 10211167 w 10673494"/>
              <a:gd name="connsiteY3-272" fmla="*/ 678410 h 1022049"/>
              <a:gd name="connsiteX4-273" fmla="*/ 1145874 w 10673494"/>
              <a:gd name="connsiteY4-274" fmla="*/ 670939 h 1022049"/>
              <a:gd name="connsiteX5-275" fmla="*/ 521729 w 10673494"/>
              <a:gd name="connsiteY5-276" fmla="*/ 1022049 h 1022049"/>
              <a:gd name="connsiteX6-277" fmla="*/ 11592 w 10673494"/>
              <a:gd name="connsiteY6-278" fmla="*/ 684481 h 1022049"/>
              <a:gd name="connsiteX7-279" fmla="*/ 0 w 10673494"/>
              <a:gd name="connsiteY7-280" fmla="*/ 5825 h 1022049"/>
              <a:gd name="connsiteX0-281" fmla="*/ 0 w 10673494"/>
              <a:gd name="connsiteY0-282" fmla="*/ 0 h 1045351"/>
              <a:gd name="connsiteX1-283" fmla="*/ 10673494 w 10673494"/>
              <a:gd name="connsiteY1-284" fmla="*/ 23302 h 1045351"/>
              <a:gd name="connsiteX2-285" fmla="*/ 10673494 w 10673494"/>
              <a:gd name="connsiteY2-286" fmla="*/ 326793 h 1045351"/>
              <a:gd name="connsiteX3-287" fmla="*/ 10211167 w 10673494"/>
              <a:gd name="connsiteY3-288" fmla="*/ 701712 h 1045351"/>
              <a:gd name="connsiteX4-289" fmla="*/ 1145874 w 10673494"/>
              <a:gd name="connsiteY4-290" fmla="*/ 694241 h 1045351"/>
              <a:gd name="connsiteX5-291" fmla="*/ 521729 w 10673494"/>
              <a:gd name="connsiteY5-292" fmla="*/ 1045351 h 1045351"/>
              <a:gd name="connsiteX6-293" fmla="*/ 11592 w 10673494"/>
              <a:gd name="connsiteY6-294" fmla="*/ 707783 h 1045351"/>
              <a:gd name="connsiteX7-295" fmla="*/ 0 w 10673494"/>
              <a:gd name="connsiteY7-296" fmla="*/ 0 h 1045351"/>
              <a:gd name="connsiteX0-297" fmla="*/ 0 w 10667698"/>
              <a:gd name="connsiteY0-298" fmla="*/ 0 h 1027875"/>
              <a:gd name="connsiteX1-299" fmla="*/ 10667698 w 10667698"/>
              <a:gd name="connsiteY1-300" fmla="*/ 5826 h 1027875"/>
              <a:gd name="connsiteX2-301" fmla="*/ 10667698 w 10667698"/>
              <a:gd name="connsiteY2-302" fmla="*/ 309317 h 1027875"/>
              <a:gd name="connsiteX3-303" fmla="*/ 10205371 w 10667698"/>
              <a:gd name="connsiteY3-304" fmla="*/ 684236 h 1027875"/>
              <a:gd name="connsiteX4-305" fmla="*/ 1140078 w 10667698"/>
              <a:gd name="connsiteY4-306" fmla="*/ 676765 h 1027875"/>
              <a:gd name="connsiteX5-307" fmla="*/ 515933 w 10667698"/>
              <a:gd name="connsiteY5-308" fmla="*/ 1027875 h 1027875"/>
              <a:gd name="connsiteX6-309" fmla="*/ 5796 w 10667698"/>
              <a:gd name="connsiteY6-310" fmla="*/ 690307 h 1027875"/>
              <a:gd name="connsiteX7-311" fmla="*/ 0 w 10667698"/>
              <a:gd name="connsiteY7-312" fmla="*/ 0 h 1027875"/>
              <a:gd name="connsiteX0-313" fmla="*/ 5796 w 10661902"/>
              <a:gd name="connsiteY0-314" fmla="*/ 0 h 1027875"/>
              <a:gd name="connsiteX1-315" fmla="*/ 10661902 w 10661902"/>
              <a:gd name="connsiteY1-316" fmla="*/ 5826 h 1027875"/>
              <a:gd name="connsiteX2-317" fmla="*/ 10661902 w 10661902"/>
              <a:gd name="connsiteY2-318" fmla="*/ 309317 h 1027875"/>
              <a:gd name="connsiteX3-319" fmla="*/ 10199575 w 10661902"/>
              <a:gd name="connsiteY3-320" fmla="*/ 684236 h 1027875"/>
              <a:gd name="connsiteX4-321" fmla="*/ 1134282 w 10661902"/>
              <a:gd name="connsiteY4-322" fmla="*/ 676765 h 1027875"/>
              <a:gd name="connsiteX5-323" fmla="*/ 510137 w 10661902"/>
              <a:gd name="connsiteY5-324" fmla="*/ 1027875 h 1027875"/>
              <a:gd name="connsiteX6-325" fmla="*/ 0 w 10661902"/>
              <a:gd name="connsiteY6-326" fmla="*/ 690307 h 1027875"/>
              <a:gd name="connsiteX7-327" fmla="*/ 5796 w 10661902"/>
              <a:gd name="connsiteY7-328" fmla="*/ 0 h 1027875"/>
              <a:gd name="connsiteX0-329" fmla="*/ 1 w 10661902"/>
              <a:gd name="connsiteY0-330" fmla="*/ 0 h 1027875"/>
              <a:gd name="connsiteX1-331" fmla="*/ 10661902 w 10661902"/>
              <a:gd name="connsiteY1-332" fmla="*/ 5826 h 1027875"/>
              <a:gd name="connsiteX2-333" fmla="*/ 10661902 w 10661902"/>
              <a:gd name="connsiteY2-334" fmla="*/ 309317 h 1027875"/>
              <a:gd name="connsiteX3-335" fmla="*/ 10199575 w 10661902"/>
              <a:gd name="connsiteY3-336" fmla="*/ 684236 h 1027875"/>
              <a:gd name="connsiteX4-337" fmla="*/ 1134282 w 10661902"/>
              <a:gd name="connsiteY4-338" fmla="*/ 676765 h 1027875"/>
              <a:gd name="connsiteX5-339" fmla="*/ 510137 w 10661902"/>
              <a:gd name="connsiteY5-340" fmla="*/ 1027875 h 1027875"/>
              <a:gd name="connsiteX6-341" fmla="*/ 0 w 10661902"/>
              <a:gd name="connsiteY6-342" fmla="*/ 690307 h 1027875"/>
              <a:gd name="connsiteX7-343" fmla="*/ 1 w 10661902"/>
              <a:gd name="connsiteY7-344" fmla="*/ 0 h 1027875"/>
              <a:gd name="connsiteX0-345" fmla="*/ 1 w 10661902"/>
              <a:gd name="connsiteY0-346" fmla="*/ 0 h 1027875"/>
              <a:gd name="connsiteX1-347" fmla="*/ 10661902 w 10661902"/>
              <a:gd name="connsiteY1-348" fmla="*/ 5826 h 1027875"/>
              <a:gd name="connsiteX2-349" fmla="*/ 10661902 w 10661902"/>
              <a:gd name="connsiteY2-350" fmla="*/ 309317 h 1027875"/>
              <a:gd name="connsiteX3-351" fmla="*/ 10199575 w 10661902"/>
              <a:gd name="connsiteY3-352" fmla="*/ 684236 h 1027875"/>
              <a:gd name="connsiteX4-353" fmla="*/ 1134282 w 10661902"/>
              <a:gd name="connsiteY4-354" fmla="*/ 676765 h 1027875"/>
              <a:gd name="connsiteX5-355" fmla="*/ 560676 w 10661902"/>
              <a:gd name="connsiteY5-356" fmla="*/ 1027875 h 1027875"/>
              <a:gd name="connsiteX6-357" fmla="*/ 0 w 10661902"/>
              <a:gd name="connsiteY6-358" fmla="*/ 690307 h 1027875"/>
              <a:gd name="connsiteX7-359" fmla="*/ 1 w 10661902"/>
              <a:gd name="connsiteY7-360" fmla="*/ 0 h 1027875"/>
              <a:gd name="connsiteX0-361" fmla="*/ 1 w 10661902"/>
              <a:gd name="connsiteY0-362" fmla="*/ 0 h 1027875"/>
              <a:gd name="connsiteX1-363" fmla="*/ 10661902 w 10661902"/>
              <a:gd name="connsiteY1-364" fmla="*/ 5826 h 1027875"/>
              <a:gd name="connsiteX2-365" fmla="*/ 10661902 w 10661902"/>
              <a:gd name="connsiteY2-366" fmla="*/ 309317 h 1027875"/>
              <a:gd name="connsiteX3-367" fmla="*/ 10199575 w 10661902"/>
              <a:gd name="connsiteY3-368" fmla="*/ 684236 h 1027875"/>
              <a:gd name="connsiteX4-369" fmla="*/ 1137441 w 10661902"/>
              <a:gd name="connsiteY4-370" fmla="*/ 689465 h 1027875"/>
              <a:gd name="connsiteX5-371" fmla="*/ 560676 w 10661902"/>
              <a:gd name="connsiteY5-372" fmla="*/ 1027875 h 1027875"/>
              <a:gd name="connsiteX6-373" fmla="*/ 0 w 10661902"/>
              <a:gd name="connsiteY6-374" fmla="*/ 690307 h 1027875"/>
              <a:gd name="connsiteX7-375" fmla="*/ 1 w 10661902"/>
              <a:gd name="connsiteY7-376" fmla="*/ 0 h 1027875"/>
              <a:gd name="connsiteX0-377" fmla="*/ 1 w 10661902"/>
              <a:gd name="connsiteY0-378" fmla="*/ 0 h 1027875"/>
              <a:gd name="connsiteX1-379" fmla="*/ 10661902 w 10661902"/>
              <a:gd name="connsiteY1-380" fmla="*/ 5826 h 1027875"/>
              <a:gd name="connsiteX2-381" fmla="*/ 10661902 w 10661902"/>
              <a:gd name="connsiteY2-382" fmla="*/ 309317 h 1027875"/>
              <a:gd name="connsiteX3-383" fmla="*/ 10199575 w 10661902"/>
              <a:gd name="connsiteY3-384" fmla="*/ 684236 h 1027875"/>
              <a:gd name="connsiteX4-385" fmla="*/ 1143758 w 10661902"/>
              <a:gd name="connsiteY4-386" fmla="*/ 629140 h 1027875"/>
              <a:gd name="connsiteX5-387" fmla="*/ 560676 w 10661902"/>
              <a:gd name="connsiteY5-388" fmla="*/ 1027875 h 1027875"/>
              <a:gd name="connsiteX6-389" fmla="*/ 0 w 10661902"/>
              <a:gd name="connsiteY6-390" fmla="*/ 690307 h 1027875"/>
              <a:gd name="connsiteX7-391" fmla="*/ 1 w 10661902"/>
              <a:gd name="connsiteY7-392" fmla="*/ 0 h 1027875"/>
              <a:gd name="connsiteX0-393" fmla="*/ 1 w 10661902"/>
              <a:gd name="connsiteY0-394" fmla="*/ 0 h 1027875"/>
              <a:gd name="connsiteX1-395" fmla="*/ 10661902 w 10661902"/>
              <a:gd name="connsiteY1-396" fmla="*/ 5826 h 1027875"/>
              <a:gd name="connsiteX2-397" fmla="*/ 10661902 w 10661902"/>
              <a:gd name="connsiteY2-398" fmla="*/ 309317 h 1027875"/>
              <a:gd name="connsiteX3-399" fmla="*/ 10199575 w 10661902"/>
              <a:gd name="connsiteY3-400" fmla="*/ 684236 h 1027875"/>
              <a:gd name="connsiteX4-401" fmla="*/ 1140599 w 10661902"/>
              <a:gd name="connsiteY4-402" fmla="*/ 686290 h 1027875"/>
              <a:gd name="connsiteX5-403" fmla="*/ 560676 w 10661902"/>
              <a:gd name="connsiteY5-404" fmla="*/ 1027875 h 1027875"/>
              <a:gd name="connsiteX6-405" fmla="*/ 0 w 10661902"/>
              <a:gd name="connsiteY6-406" fmla="*/ 690307 h 1027875"/>
              <a:gd name="connsiteX7-407" fmla="*/ 1 w 10661902"/>
              <a:gd name="connsiteY7-408" fmla="*/ 0 h 1027875"/>
              <a:gd name="connsiteX0-409" fmla="*/ 1 w 10661902"/>
              <a:gd name="connsiteY0-410" fmla="*/ 0 h 1027875"/>
              <a:gd name="connsiteX1-411" fmla="*/ 10661902 w 10661902"/>
              <a:gd name="connsiteY1-412" fmla="*/ 5826 h 1027875"/>
              <a:gd name="connsiteX2-413" fmla="*/ 10661902 w 10661902"/>
              <a:gd name="connsiteY2-414" fmla="*/ 309317 h 1027875"/>
              <a:gd name="connsiteX3-415" fmla="*/ 10199575 w 10661902"/>
              <a:gd name="connsiteY3-416" fmla="*/ 684236 h 1027875"/>
              <a:gd name="connsiteX4-417" fmla="*/ 1140599 w 10661902"/>
              <a:gd name="connsiteY4-418" fmla="*/ 686290 h 1027875"/>
              <a:gd name="connsiteX5-419" fmla="*/ 560676 w 10661902"/>
              <a:gd name="connsiteY5-420" fmla="*/ 1027875 h 1027875"/>
              <a:gd name="connsiteX6-421" fmla="*/ 0 w 10661902"/>
              <a:gd name="connsiteY6-422" fmla="*/ 690307 h 1027875"/>
              <a:gd name="connsiteX7-423" fmla="*/ 1 w 10661902"/>
              <a:gd name="connsiteY7-424" fmla="*/ 0 h 1027875"/>
              <a:gd name="connsiteX0-425" fmla="*/ 1 w 10661902"/>
              <a:gd name="connsiteY0-426" fmla="*/ 0 h 1027875"/>
              <a:gd name="connsiteX1-427" fmla="*/ 10661902 w 10661902"/>
              <a:gd name="connsiteY1-428" fmla="*/ 5826 h 1027875"/>
              <a:gd name="connsiteX2-429" fmla="*/ 10661902 w 10661902"/>
              <a:gd name="connsiteY2-430" fmla="*/ 309317 h 1027875"/>
              <a:gd name="connsiteX3-431" fmla="*/ 10199575 w 10661902"/>
              <a:gd name="connsiteY3-432" fmla="*/ 684236 h 1027875"/>
              <a:gd name="connsiteX4-433" fmla="*/ 1140599 w 10661902"/>
              <a:gd name="connsiteY4-434" fmla="*/ 686290 h 1027875"/>
              <a:gd name="connsiteX5-435" fmla="*/ 560676 w 10661902"/>
              <a:gd name="connsiteY5-436" fmla="*/ 1027875 h 1027875"/>
              <a:gd name="connsiteX6-437" fmla="*/ 0 w 10661902"/>
              <a:gd name="connsiteY6-438" fmla="*/ 690307 h 1027875"/>
              <a:gd name="connsiteX7-439" fmla="*/ 1 w 10661902"/>
              <a:gd name="connsiteY7-440" fmla="*/ 0 h 1027875"/>
              <a:gd name="connsiteX0-441" fmla="*/ 1 w 10661902"/>
              <a:gd name="connsiteY0-442" fmla="*/ 0 h 1027875"/>
              <a:gd name="connsiteX1-443" fmla="*/ 10661902 w 10661902"/>
              <a:gd name="connsiteY1-444" fmla="*/ 5826 h 1027875"/>
              <a:gd name="connsiteX2-445" fmla="*/ 10661902 w 10661902"/>
              <a:gd name="connsiteY2-446" fmla="*/ 309317 h 1027875"/>
              <a:gd name="connsiteX3-447" fmla="*/ 10199575 w 10661902"/>
              <a:gd name="connsiteY3-448" fmla="*/ 684236 h 1027875"/>
              <a:gd name="connsiteX4-449" fmla="*/ 1140599 w 10661902"/>
              <a:gd name="connsiteY4-450" fmla="*/ 686290 h 1027875"/>
              <a:gd name="connsiteX5-451" fmla="*/ 560676 w 10661902"/>
              <a:gd name="connsiteY5-452" fmla="*/ 1027875 h 1027875"/>
              <a:gd name="connsiteX6-453" fmla="*/ 0 w 10661902"/>
              <a:gd name="connsiteY6-454" fmla="*/ 690307 h 1027875"/>
              <a:gd name="connsiteX7-455" fmla="*/ 1 w 10661902"/>
              <a:gd name="connsiteY7-456" fmla="*/ 0 h 1027875"/>
              <a:gd name="connsiteX0-457" fmla="*/ 1 w 10661902"/>
              <a:gd name="connsiteY0-458" fmla="*/ 0 h 1027875"/>
              <a:gd name="connsiteX1-459" fmla="*/ 10661902 w 10661902"/>
              <a:gd name="connsiteY1-460" fmla="*/ 5826 h 1027875"/>
              <a:gd name="connsiteX2-461" fmla="*/ 10661902 w 10661902"/>
              <a:gd name="connsiteY2-462" fmla="*/ 309317 h 1027875"/>
              <a:gd name="connsiteX3-463" fmla="*/ 10199575 w 10661902"/>
              <a:gd name="connsiteY3-464" fmla="*/ 684236 h 1027875"/>
              <a:gd name="connsiteX4-465" fmla="*/ 1140599 w 10661902"/>
              <a:gd name="connsiteY4-466" fmla="*/ 686290 h 1027875"/>
              <a:gd name="connsiteX5-467" fmla="*/ 560676 w 10661902"/>
              <a:gd name="connsiteY5-468" fmla="*/ 1027875 h 1027875"/>
              <a:gd name="connsiteX6-469" fmla="*/ 0 w 10661902"/>
              <a:gd name="connsiteY6-470" fmla="*/ 690307 h 1027875"/>
              <a:gd name="connsiteX7-471" fmla="*/ 1 w 10661902"/>
              <a:gd name="connsiteY7-472" fmla="*/ 0 h 1027875"/>
              <a:gd name="connsiteX0-473" fmla="*/ 0 w 10661901"/>
              <a:gd name="connsiteY0-474" fmla="*/ 0 h 1027875"/>
              <a:gd name="connsiteX1-475" fmla="*/ 10661901 w 10661901"/>
              <a:gd name="connsiteY1-476" fmla="*/ 5826 h 1027875"/>
              <a:gd name="connsiteX2-477" fmla="*/ 10661901 w 10661901"/>
              <a:gd name="connsiteY2-478" fmla="*/ 309317 h 1027875"/>
              <a:gd name="connsiteX3-479" fmla="*/ 10199574 w 10661901"/>
              <a:gd name="connsiteY3-480" fmla="*/ 684236 h 1027875"/>
              <a:gd name="connsiteX4-481" fmla="*/ 1140598 w 10661901"/>
              <a:gd name="connsiteY4-482" fmla="*/ 686290 h 1027875"/>
              <a:gd name="connsiteX5-483" fmla="*/ 560675 w 10661901"/>
              <a:gd name="connsiteY5-484" fmla="*/ 1027875 h 1027875"/>
              <a:gd name="connsiteX6-485" fmla="*/ 3158 w 10661901"/>
              <a:gd name="connsiteY6-486" fmla="*/ 674432 h 1027875"/>
              <a:gd name="connsiteX7-487" fmla="*/ 0 w 10661901"/>
              <a:gd name="connsiteY7-488" fmla="*/ 0 h 1027875"/>
              <a:gd name="connsiteX0-489" fmla="*/ 0 w 10661901"/>
              <a:gd name="connsiteY0-490" fmla="*/ 0 h 1027875"/>
              <a:gd name="connsiteX1-491" fmla="*/ 10661901 w 10661901"/>
              <a:gd name="connsiteY1-492" fmla="*/ 5826 h 1027875"/>
              <a:gd name="connsiteX2-493" fmla="*/ 10661901 w 10661901"/>
              <a:gd name="connsiteY2-494" fmla="*/ 309317 h 1027875"/>
              <a:gd name="connsiteX3-495" fmla="*/ 10199574 w 10661901"/>
              <a:gd name="connsiteY3-496" fmla="*/ 684236 h 1027875"/>
              <a:gd name="connsiteX4-497" fmla="*/ 1140598 w 10661901"/>
              <a:gd name="connsiteY4-498" fmla="*/ 686290 h 1027875"/>
              <a:gd name="connsiteX5-499" fmla="*/ 560675 w 10661901"/>
              <a:gd name="connsiteY5-500" fmla="*/ 1027875 h 1027875"/>
              <a:gd name="connsiteX6-501" fmla="*/ 3158 w 10661901"/>
              <a:gd name="connsiteY6-502" fmla="*/ 683957 h 1027875"/>
              <a:gd name="connsiteX7-503" fmla="*/ 0 w 10661901"/>
              <a:gd name="connsiteY7-504" fmla="*/ 0 h 1027875"/>
              <a:gd name="connsiteX0-505" fmla="*/ 0 w 10710088"/>
              <a:gd name="connsiteY0-506" fmla="*/ 0 h 1027875"/>
              <a:gd name="connsiteX1-507" fmla="*/ 10661901 w 10710088"/>
              <a:gd name="connsiteY1-508" fmla="*/ 5826 h 1027875"/>
              <a:gd name="connsiteX2-509" fmla="*/ 10661901 w 10710088"/>
              <a:gd name="connsiteY2-510" fmla="*/ 309317 h 1027875"/>
              <a:gd name="connsiteX3-511" fmla="*/ 10668871 w 10710088"/>
              <a:gd name="connsiteY3-512" fmla="*/ 684236 h 1027875"/>
              <a:gd name="connsiteX4-513" fmla="*/ 1140598 w 10710088"/>
              <a:gd name="connsiteY4-514" fmla="*/ 686290 h 1027875"/>
              <a:gd name="connsiteX5-515" fmla="*/ 560675 w 10710088"/>
              <a:gd name="connsiteY5-516" fmla="*/ 1027875 h 1027875"/>
              <a:gd name="connsiteX6-517" fmla="*/ 3158 w 10710088"/>
              <a:gd name="connsiteY6-518" fmla="*/ 683957 h 1027875"/>
              <a:gd name="connsiteX7-519" fmla="*/ 0 w 10710088"/>
              <a:gd name="connsiteY7-520" fmla="*/ 0 h 1027875"/>
              <a:gd name="connsiteX0-521" fmla="*/ 0 w 10668871"/>
              <a:gd name="connsiteY0-522" fmla="*/ 0 h 1027875"/>
              <a:gd name="connsiteX1-523" fmla="*/ 10661901 w 10668871"/>
              <a:gd name="connsiteY1-524" fmla="*/ 5826 h 1027875"/>
              <a:gd name="connsiteX2-525" fmla="*/ 10668871 w 10668871"/>
              <a:gd name="connsiteY2-526" fmla="*/ 684236 h 1027875"/>
              <a:gd name="connsiteX3-527" fmla="*/ 1140598 w 10668871"/>
              <a:gd name="connsiteY3-528" fmla="*/ 686290 h 1027875"/>
              <a:gd name="connsiteX4-529" fmla="*/ 560675 w 10668871"/>
              <a:gd name="connsiteY4-530" fmla="*/ 1027875 h 1027875"/>
              <a:gd name="connsiteX5-531" fmla="*/ 3158 w 10668871"/>
              <a:gd name="connsiteY5-532" fmla="*/ 683957 h 1027875"/>
              <a:gd name="connsiteX6-533" fmla="*/ 0 w 10668871"/>
              <a:gd name="connsiteY6-534" fmla="*/ 0 h 1027875"/>
              <a:gd name="connsiteX0-535" fmla="*/ 0 w 10662015"/>
              <a:gd name="connsiteY0-536" fmla="*/ 0 h 1027875"/>
              <a:gd name="connsiteX1-537" fmla="*/ 10661901 w 10662015"/>
              <a:gd name="connsiteY1-538" fmla="*/ 5826 h 1027875"/>
              <a:gd name="connsiteX2-539" fmla="*/ 10632772 w 10662015"/>
              <a:gd name="connsiteY2-540" fmla="*/ 684236 h 1027875"/>
              <a:gd name="connsiteX3-541" fmla="*/ 1140598 w 10662015"/>
              <a:gd name="connsiteY3-542" fmla="*/ 686290 h 1027875"/>
              <a:gd name="connsiteX4-543" fmla="*/ 560675 w 10662015"/>
              <a:gd name="connsiteY4-544" fmla="*/ 1027875 h 1027875"/>
              <a:gd name="connsiteX5-545" fmla="*/ 3158 w 10662015"/>
              <a:gd name="connsiteY5-546" fmla="*/ 683957 h 1027875"/>
              <a:gd name="connsiteX6-547" fmla="*/ 0 w 10662015"/>
              <a:gd name="connsiteY6-548" fmla="*/ 0 h 1027875"/>
              <a:gd name="connsiteX0-549" fmla="*/ 0 w 10632772"/>
              <a:gd name="connsiteY0-550" fmla="*/ 0 h 1027875"/>
              <a:gd name="connsiteX1-551" fmla="*/ 10616776 w 10632772"/>
              <a:gd name="connsiteY1-552" fmla="*/ 559150 h 1027875"/>
              <a:gd name="connsiteX2-553" fmla="*/ 10632772 w 10632772"/>
              <a:gd name="connsiteY2-554" fmla="*/ 684236 h 1027875"/>
              <a:gd name="connsiteX3-555" fmla="*/ 1140598 w 10632772"/>
              <a:gd name="connsiteY3-556" fmla="*/ 686290 h 1027875"/>
              <a:gd name="connsiteX4-557" fmla="*/ 560675 w 10632772"/>
              <a:gd name="connsiteY4-558" fmla="*/ 1027875 h 1027875"/>
              <a:gd name="connsiteX5-559" fmla="*/ 3158 w 10632772"/>
              <a:gd name="connsiteY5-560" fmla="*/ 683957 h 1027875"/>
              <a:gd name="connsiteX6-561" fmla="*/ 0 w 10632772"/>
              <a:gd name="connsiteY6-562" fmla="*/ 0 h 1027875"/>
              <a:gd name="connsiteX0-563" fmla="*/ 5867 w 10629614"/>
              <a:gd name="connsiteY0-564" fmla="*/ 12316 h 468725"/>
              <a:gd name="connsiteX1-565" fmla="*/ 10613618 w 10629614"/>
              <a:gd name="connsiteY1-566" fmla="*/ 0 h 468725"/>
              <a:gd name="connsiteX2-567" fmla="*/ 10629614 w 10629614"/>
              <a:gd name="connsiteY2-568" fmla="*/ 125086 h 468725"/>
              <a:gd name="connsiteX3-569" fmla="*/ 1137440 w 10629614"/>
              <a:gd name="connsiteY3-570" fmla="*/ 127140 h 468725"/>
              <a:gd name="connsiteX4-571" fmla="*/ 557517 w 10629614"/>
              <a:gd name="connsiteY4-572" fmla="*/ 468725 h 468725"/>
              <a:gd name="connsiteX5-573" fmla="*/ 0 w 10629614"/>
              <a:gd name="connsiteY5-574" fmla="*/ 124807 h 468725"/>
              <a:gd name="connsiteX6-575" fmla="*/ 5867 w 10629614"/>
              <a:gd name="connsiteY6-576" fmla="*/ 12316 h 468725"/>
              <a:gd name="connsiteX0-577" fmla="*/ 0 w 10636382"/>
              <a:gd name="connsiteY0-578" fmla="*/ 12316 h 468725"/>
              <a:gd name="connsiteX1-579" fmla="*/ 10620386 w 10636382"/>
              <a:gd name="connsiteY1-580" fmla="*/ 0 h 468725"/>
              <a:gd name="connsiteX2-581" fmla="*/ 10636382 w 10636382"/>
              <a:gd name="connsiteY2-582" fmla="*/ 125086 h 468725"/>
              <a:gd name="connsiteX3-583" fmla="*/ 1144208 w 10636382"/>
              <a:gd name="connsiteY3-584" fmla="*/ 127140 h 468725"/>
              <a:gd name="connsiteX4-585" fmla="*/ 564285 w 10636382"/>
              <a:gd name="connsiteY4-586" fmla="*/ 468725 h 468725"/>
              <a:gd name="connsiteX5-587" fmla="*/ 6768 w 10636382"/>
              <a:gd name="connsiteY5-588" fmla="*/ 124807 h 468725"/>
              <a:gd name="connsiteX6-589" fmla="*/ 0 w 10636382"/>
              <a:gd name="connsiteY6-590" fmla="*/ 12316 h 468725"/>
              <a:gd name="connsiteX0-591" fmla="*/ 239608 w 10629614"/>
              <a:gd name="connsiteY0-592" fmla="*/ 21841 h 468725"/>
              <a:gd name="connsiteX1-593" fmla="*/ 10613618 w 10629614"/>
              <a:gd name="connsiteY1-594" fmla="*/ 0 h 468725"/>
              <a:gd name="connsiteX2-595" fmla="*/ 10629614 w 10629614"/>
              <a:gd name="connsiteY2-596" fmla="*/ 125086 h 468725"/>
              <a:gd name="connsiteX3-597" fmla="*/ 1137440 w 10629614"/>
              <a:gd name="connsiteY3-598" fmla="*/ 127140 h 468725"/>
              <a:gd name="connsiteX4-599" fmla="*/ 557517 w 10629614"/>
              <a:gd name="connsiteY4-600" fmla="*/ 468725 h 468725"/>
              <a:gd name="connsiteX5-601" fmla="*/ 0 w 10629614"/>
              <a:gd name="connsiteY5-602" fmla="*/ 124807 h 468725"/>
              <a:gd name="connsiteX6-603" fmla="*/ 239608 w 10629614"/>
              <a:gd name="connsiteY6-604" fmla="*/ 21841 h 468725"/>
              <a:gd name="connsiteX0-605" fmla="*/ 239608 w 10629614"/>
              <a:gd name="connsiteY0-606" fmla="*/ 21841 h 468725"/>
              <a:gd name="connsiteX1-607" fmla="*/ 10613618 w 10629614"/>
              <a:gd name="connsiteY1-608" fmla="*/ 0 h 468725"/>
              <a:gd name="connsiteX2-609" fmla="*/ 10629614 w 10629614"/>
              <a:gd name="connsiteY2-610" fmla="*/ 125086 h 468725"/>
              <a:gd name="connsiteX3-611" fmla="*/ 1137440 w 10629614"/>
              <a:gd name="connsiteY3-612" fmla="*/ 127140 h 468725"/>
              <a:gd name="connsiteX4-613" fmla="*/ 557517 w 10629614"/>
              <a:gd name="connsiteY4-614" fmla="*/ 468725 h 468725"/>
              <a:gd name="connsiteX5-615" fmla="*/ 0 w 10629614"/>
              <a:gd name="connsiteY5-616" fmla="*/ 124807 h 468725"/>
              <a:gd name="connsiteX6-617" fmla="*/ 239608 w 10629614"/>
              <a:gd name="connsiteY6-618" fmla="*/ 21841 h 468725"/>
              <a:gd name="connsiteX0-619" fmla="*/ 0 w 10630065"/>
              <a:gd name="connsiteY0-620" fmla="*/ 2791 h 468725"/>
              <a:gd name="connsiteX1-621" fmla="*/ 10614069 w 10630065"/>
              <a:gd name="connsiteY1-622" fmla="*/ 0 h 468725"/>
              <a:gd name="connsiteX2-623" fmla="*/ 10630065 w 10630065"/>
              <a:gd name="connsiteY2-624" fmla="*/ 125086 h 468725"/>
              <a:gd name="connsiteX3-625" fmla="*/ 1137891 w 10630065"/>
              <a:gd name="connsiteY3-626" fmla="*/ 127140 h 468725"/>
              <a:gd name="connsiteX4-627" fmla="*/ 557968 w 10630065"/>
              <a:gd name="connsiteY4-628" fmla="*/ 468725 h 468725"/>
              <a:gd name="connsiteX5-629" fmla="*/ 451 w 10630065"/>
              <a:gd name="connsiteY5-630" fmla="*/ 124807 h 468725"/>
              <a:gd name="connsiteX6-631" fmla="*/ 0 w 10630065"/>
              <a:gd name="connsiteY6-632" fmla="*/ 2791 h 468725"/>
              <a:gd name="connsiteX0-633" fmla="*/ 0 w 10630065"/>
              <a:gd name="connsiteY0-634" fmla="*/ 2791 h 468725"/>
              <a:gd name="connsiteX1-635" fmla="*/ 10614069 w 10630065"/>
              <a:gd name="connsiteY1-636" fmla="*/ 0 h 468725"/>
              <a:gd name="connsiteX2-637" fmla="*/ 10630065 w 10630065"/>
              <a:gd name="connsiteY2-638" fmla="*/ 125086 h 468725"/>
              <a:gd name="connsiteX3-639" fmla="*/ 1137891 w 10630065"/>
              <a:gd name="connsiteY3-640" fmla="*/ 127140 h 468725"/>
              <a:gd name="connsiteX4-641" fmla="*/ 557968 w 10630065"/>
              <a:gd name="connsiteY4-642" fmla="*/ 468725 h 468725"/>
              <a:gd name="connsiteX5-643" fmla="*/ 451 w 10630065"/>
              <a:gd name="connsiteY5-644" fmla="*/ 124807 h 468725"/>
              <a:gd name="connsiteX6-645" fmla="*/ 0 w 10630065"/>
              <a:gd name="connsiteY6-646" fmla="*/ 2791 h 468725"/>
              <a:gd name="connsiteX0-647" fmla="*/ 0 w 10630556"/>
              <a:gd name="connsiteY0-648" fmla="*/ 2791 h 468725"/>
              <a:gd name="connsiteX1-649" fmla="*/ 10629862 w 10630556"/>
              <a:gd name="connsiteY1-650" fmla="*/ 0 h 468725"/>
              <a:gd name="connsiteX2-651" fmla="*/ 10630065 w 10630556"/>
              <a:gd name="connsiteY2-652" fmla="*/ 125086 h 468725"/>
              <a:gd name="connsiteX3-653" fmla="*/ 1137891 w 10630556"/>
              <a:gd name="connsiteY3-654" fmla="*/ 127140 h 468725"/>
              <a:gd name="connsiteX4-655" fmla="*/ 557968 w 10630556"/>
              <a:gd name="connsiteY4-656" fmla="*/ 468725 h 468725"/>
              <a:gd name="connsiteX5-657" fmla="*/ 451 w 10630556"/>
              <a:gd name="connsiteY5-658" fmla="*/ 124807 h 468725"/>
              <a:gd name="connsiteX6-659" fmla="*/ 0 w 10630556"/>
              <a:gd name="connsiteY6-660" fmla="*/ 2791 h 468725"/>
              <a:gd name="connsiteX0-661" fmla="*/ 0 w 10630556"/>
              <a:gd name="connsiteY0-662" fmla="*/ 2791 h 468725"/>
              <a:gd name="connsiteX1-663" fmla="*/ 10629862 w 10630556"/>
              <a:gd name="connsiteY1-664" fmla="*/ 0 h 468725"/>
              <a:gd name="connsiteX2-665" fmla="*/ 10630065 w 10630556"/>
              <a:gd name="connsiteY2-666" fmla="*/ 125086 h 468725"/>
              <a:gd name="connsiteX3-667" fmla="*/ 1137891 w 10630556"/>
              <a:gd name="connsiteY3-668" fmla="*/ 127140 h 468725"/>
              <a:gd name="connsiteX4-669" fmla="*/ 557968 w 10630556"/>
              <a:gd name="connsiteY4-670" fmla="*/ 468725 h 468725"/>
              <a:gd name="connsiteX5-671" fmla="*/ 75946 w 10630556"/>
              <a:gd name="connsiteY5-672" fmla="*/ 125867 h 468725"/>
              <a:gd name="connsiteX6-673" fmla="*/ 451 w 10630556"/>
              <a:gd name="connsiteY6-674" fmla="*/ 124807 h 468725"/>
              <a:gd name="connsiteX7-675" fmla="*/ 0 w 10630556"/>
              <a:gd name="connsiteY7-676" fmla="*/ 2791 h 468725"/>
              <a:gd name="connsiteX0-677" fmla="*/ 0 w 10630556"/>
              <a:gd name="connsiteY0-678" fmla="*/ 2791 h 468725"/>
              <a:gd name="connsiteX1-679" fmla="*/ 10629862 w 10630556"/>
              <a:gd name="connsiteY1-680" fmla="*/ 0 h 468725"/>
              <a:gd name="connsiteX2-681" fmla="*/ 10630065 w 10630556"/>
              <a:gd name="connsiteY2-682" fmla="*/ 125086 h 468725"/>
              <a:gd name="connsiteX3-683" fmla="*/ 1137891 w 10630556"/>
              <a:gd name="connsiteY3-684" fmla="*/ 127140 h 468725"/>
              <a:gd name="connsiteX4-685" fmla="*/ 557968 w 10630556"/>
              <a:gd name="connsiteY4-686" fmla="*/ 468725 h 468725"/>
              <a:gd name="connsiteX5-687" fmla="*/ 75946 w 10630556"/>
              <a:gd name="connsiteY5-688" fmla="*/ 125867 h 468725"/>
              <a:gd name="connsiteX6-689" fmla="*/ 451 w 10630556"/>
              <a:gd name="connsiteY6-690" fmla="*/ 124807 h 468725"/>
              <a:gd name="connsiteX7-691" fmla="*/ 0 w 10630556"/>
              <a:gd name="connsiteY7-692" fmla="*/ 2791 h 468725"/>
              <a:gd name="connsiteX0-693" fmla="*/ 0 w 10630556"/>
              <a:gd name="connsiteY0-694" fmla="*/ 2791 h 468725"/>
              <a:gd name="connsiteX1-695" fmla="*/ 10629862 w 10630556"/>
              <a:gd name="connsiteY1-696" fmla="*/ 0 h 468725"/>
              <a:gd name="connsiteX2-697" fmla="*/ 10630065 w 10630556"/>
              <a:gd name="connsiteY2-698" fmla="*/ 125086 h 468725"/>
              <a:gd name="connsiteX3-699" fmla="*/ 1137891 w 10630556"/>
              <a:gd name="connsiteY3-700" fmla="*/ 127140 h 468725"/>
              <a:gd name="connsiteX4-701" fmla="*/ 557968 w 10630556"/>
              <a:gd name="connsiteY4-702" fmla="*/ 468725 h 468725"/>
              <a:gd name="connsiteX5-703" fmla="*/ 75946 w 10630556"/>
              <a:gd name="connsiteY5-704" fmla="*/ 125867 h 468725"/>
              <a:gd name="connsiteX6-705" fmla="*/ 451 w 10630556"/>
              <a:gd name="connsiteY6-706" fmla="*/ 124807 h 468725"/>
              <a:gd name="connsiteX7-707" fmla="*/ 0 w 10630556"/>
              <a:gd name="connsiteY7-708" fmla="*/ 2791 h 468725"/>
              <a:gd name="connsiteX0-709" fmla="*/ 782750 w 11413306"/>
              <a:gd name="connsiteY0-710" fmla="*/ 2791 h 468725"/>
              <a:gd name="connsiteX1-711" fmla="*/ 11412612 w 11413306"/>
              <a:gd name="connsiteY1-712" fmla="*/ 0 h 468725"/>
              <a:gd name="connsiteX2-713" fmla="*/ 11412815 w 11413306"/>
              <a:gd name="connsiteY2-714" fmla="*/ 125086 h 468725"/>
              <a:gd name="connsiteX3-715" fmla="*/ 1920641 w 11413306"/>
              <a:gd name="connsiteY3-716" fmla="*/ 127140 h 468725"/>
              <a:gd name="connsiteX4-717" fmla="*/ 1340718 w 11413306"/>
              <a:gd name="connsiteY4-718" fmla="*/ 468725 h 468725"/>
              <a:gd name="connsiteX5-719" fmla="*/ 858696 w 11413306"/>
              <a:gd name="connsiteY5-720" fmla="*/ 125867 h 468725"/>
              <a:gd name="connsiteX6-721" fmla="*/ 782750 w 11413306"/>
              <a:gd name="connsiteY6-722" fmla="*/ 2791 h 468725"/>
              <a:gd name="connsiteX0-723" fmla="*/ 802813 w 11357561"/>
              <a:gd name="connsiteY0-724" fmla="*/ 2791 h 468725"/>
              <a:gd name="connsiteX1-725" fmla="*/ 11356867 w 11357561"/>
              <a:gd name="connsiteY1-726" fmla="*/ 0 h 468725"/>
              <a:gd name="connsiteX2-727" fmla="*/ 11357070 w 11357561"/>
              <a:gd name="connsiteY2-728" fmla="*/ 125086 h 468725"/>
              <a:gd name="connsiteX3-729" fmla="*/ 1864896 w 11357561"/>
              <a:gd name="connsiteY3-730" fmla="*/ 127140 h 468725"/>
              <a:gd name="connsiteX4-731" fmla="*/ 1284973 w 11357561"/>
              <a:gd name="connsiteY4-732" fmla="*/ 468725 h 468725"/>
              <a:gd name="connsiteX5-733" fmla="*/ 802951 w 11357561"/>
              <a:gd name="connsiteY5-734" fmla="*/ 125867 h 468725"/>
              <a:gd name="connsiteX6-735" fmla="*/ 802813 w 11357561"/>
              <a:gd name="connsiteY6-736" fmla="*/ 2791 h 468725"/>
              <a:gd name="connsiteX0-737" fmla="*/ 341552 w 10896300"/>
              <a:gd name="connsiteY0-738" fmla="*/ 2791 h 468725"/>
              <a:gd name="connsiteX1-739" fmla="*/ 10895606 w 10896300"/>
              <a:gd name="connsiteY1-740" fmla="*/ 0 h 468725"/>
              <a:gd name="connsiteX2-741" fmla="*/ 10895809 w 10896300"/>
              <a:gd name="connsiteY2-742" fmla="*/ 125086 h 468725"/>
              <a:gd name="connsiteX3-743" fmla="*/ 1403635 w 10896300"/>
              <a:gd name="connsiteY3-744" fmla="*/ 127140 h 468725"/>
              <a:gd name="connsiteX4-745" fmla="*/ 823712 w 10896300"/>
              <a:gd name="connsiteY4-746" fmla="*/ 468725 h 468725"/>
              <a:gd name="connsiteX5-747" fmla="*/ 341690 w 10896300"/>
              <a:gd name="connsiteY5-748" fmla="*/ 125867 h 468725"/>
              <a:gd name="connsiteX6-749" fmla="*/ 341552 w 10896300"/>
              <a:gd name="connsiteY6-750" fmla="*/ 2791 h 468725"/>
              <a:gd name="connsiteX0-751" fmla="*/ 41143 w 10595891"/>
              <a:gd name="connsiteY0-752" fmla="*/ 2791 h 468725"/>
              <a:gd name="connsiteX1-753" fmla="*/ 10595197 w 10595891"/>
              <a:gd name="connsiteY1-754" fmla="*/ 0 h 468725"/>
              <a:gd name="connsiteX2-755" fmla="*/ 10595400 w 10595891"/>
              <a:gd name="connsiteY2-756" fmla="*/ 125086 h 468725"/>
              <a:gd name="connsiteX3-757" fmla="*/ 1103226 w 10595891"/>
              <a:gd name="connsiteY3-758" fmla="*/ 127140 h 468725"/>
              <a:gd name="connsiteX4-759" fmla="*/ 523303 w 10595891"/>
              <a:gd name="connsiteY4-760" fmla="*/ 468725 h 468725"/>
              <a:gd name="connsiteX5-761" fmla="*/ 41281 w 10595891"/>
              <a:gd name="connsiteY5-762" fmla="*/ 125867 h 468725"/>
              <a:gd name="connsiteX6-763" fmla="*/ 41143 w 10595891"/>
              <a:gd name="connsiteY6-764" fmla="*/ 2791 h 468725"/>
              <a:gd name="connsiteX0-765" fmla="*/ 433 w 10555181"/>
              <a:gd name="connsiteY0-766" fmla="*/ 2791 h 468725"/>
              <a:gd name="connsiteX1-767" fmla="*/ 10554487 w 10555181"/>
              <a:gd name="connsiteY1-768" fmla="*/ 0 h 468725"/>
              <a:gd name="connsiteX2-769" fmla="*/ 10554690 w 10555181"/>
              <a:gd name="connsiteY2-770" fmla="*/ 125086 h 468725"/>
              <a:gd name="connsiteX3-771" fmla="*/ 1062516 w 10555181"/>
              <a:gd name="connsiteY3-772" fmla="*/ 127140 h 468725"/>
              <a:gd name="connsiteX4-773" fmla="*/ 482593 w 10555181"/>
              <a:gd name="connsiteY4-774" fmla="*/ 468725 h 468725"/>
              <a:gd name="connsiteX5-775" fmla="*/ 571 w 10555181"/>
              <a:gd name="connsiteY5-776" fmla="*/ 125867 h 468725"/>
              <a:gd name="connsiteX6-777" fmla="*/ 433 w 10555181"/>
              <a:gd name="connsiteY6-778" fmla="*/ 2791 h 468725"/>
              <a:gd name="connsiteX0-779" fmla="*/ 433 w 10555181"/>
              <a:gd name="connsiteY0-780" fmla="*/ 2791 h 468725"/>
              <a:gd name="connsiteX1-781" fmla="*/ 10554487 w 10555181"/>
              <a:gd name="connsiteY1-782" fmla="*/ 0 h 468725"/>
              <a:gd name="connsiteX2-783" fmla="*/ 10554690 w 10555181"/>
              <a:gd name="connsiteY2-784" fmla="*/ 125086 h 468725"/>
              <a:gd name="connsiteX3-785" fmla="*/ 1062516 w 10555181"/>
              <a:gd name="connsiteY3-786" fmla="*/ 127140 h 468725"/>
              <a:gd name="connsiteX4-787" fmla="*/ 482593 w 10555181"/>
              <a:gd name="connsiteY4-788" fmla="*/ 468725 h 468725"/>
              <a:gd name="connsiteX5-789" fmla="*/ 571 w 10555181"/>
              <a:gd name="connsiteY5-790" fmla="*/ 125867 h 468725"/>
              <a:gd name="connsiteX6-791" fmla="*/ 433 w 10555181"/>
              <a:gd name="connsiteY6-792" fmla="*/ 2791 h 468725"/>
              <a:gd name="connsiteX0-793" fmla="*/ 433 w 10555181"/>
              <a:gd name="connsiteY0-794" fmla="*/ 2791 h 468725"/>
              <a:gd name="connsiteX1-795" fmla="*/ 10554487 w 10555181"/>
              <a:gd name="connsiteY1-796" fmla="*/ 0 h 468725"/>
              <a:gd name="connsiteX2-797" fmla="*/ 10554690 w 10555181"/>
              <a:gd name="connsiteY2-798" fmla="*/ 125086 h 468725"/>
              <a:gd name="connsiteX3-799" fmla="*/ 1062516 w 10555181"/>
              <a:gd name="connsiteY3-800" fmla="*/ 127140 h 468725"/>
              <a:gd name="connsiteX4-801" fmla="*/ 482593 w 10555181"/>
              <a:gd name="connsiteY4-802" fmla="*/ 468725 h 468725"/>
              <a:gd name="connsiteX5-803" fmla="*/ 571 w 10555181"/>
              <a:gd name="connsiteY5-804" fmla="*/ 125867 h 468725"/>
              <a:gd name="connsiteX6-805" fmla="*/ 433 w 10555181"/>
              <a:gd name="connsiteY6-806" fmla="*/ 2791 h 468725"/>
              <a:gd name="connsiteX0-807" fmla="*/ 433 w 10555181"/>
              <a:gd name="connsiteY0-808" fmla="*/ 2791 h 468725"/>
              <a:gd name="connsiteX1-809" fmla="*/ 10554487 w 10555181"/>
              <a:gd name="connsiteY1-810" fmla="*/ 0 h 468725"/>
              <a:gd name="connsiteX2-811" fmla="*/ 10554690 w 10555181"/>
              <a:gd name="connsiteY2-812" fmla="*/ 125086 h 468725"/>
              <a:gd name="connsiteX3-813" fmla="*/ 1062516 w 10555181"/>
              <a:gd name="connsiteY3-814" fmla="*/ 127140 h 468725"/>
              <a:gd name="connsiteX4-815" fmla="*/ 482593 w 10555181"/>
              <a:gd name="connsiteY4-816" fmla="*/ 468725 h 468725"/>
              <a:gd name="connsiteX5-817" fmla="*/ 571 w 10555181"/>
              <a:gd name="connsiteY5-818" fmla="*/ 125867 h 468725"/>
              <a:gd name="connsiteX6-819" fmla="*/ 433 w 10555181"/>
              <a:gd name="connsiteY6-820" fmla="*/ 2791 h 468725"/>
              <a:gd name="connsiteX0-821" fmla="*/ 433 w 10555181"/>
              <a:gd name="connsiteY0-822" fmla="*/ 2791 h 468725"/>
              <a:gd name="connsiteX1-823" fmla="*/ 10554487 w 10555181"/>
              <a:gd name="connsiteY1-824" fmla="*/ 0 h 468725"/>
              <a:gd name="connsiteX2-825" fmla="*/ 10554690 w 10555181"/>
              <a:gd name="connsiteY2-826" fmla="*/ 125086 h 468725"/>
              <a:gd name="connsiteX3-827" fmla="*/ 1062516 w 10555181"/>
              <a:gd name="connsiteY3-828" fmla="*/ 127140 h 468725"/>
              <a:gd name="connsiteX4-829" fmla="*/ 482593 w 10555181"/>
              <a:gd name="connsiteY4-830" fmla="*/ 468725 h 468725"/>
              <a:gd name="connsiteX5-831" fmla="*/ 571 w 10555181"/>
              <a:gd name="connsiteY5-832" fmla="*/ 125867 h 468725"/>
              <a:gd name="connsiteX6-833" fmla="*/ 433 w 10555181"/>
              <a:gd name="connsiteY6-834" fmla="*/ 2791 h 468725"/>
              <a:gd name="connsiteX0-835" fmla="*/ 433 w 10555181"/>
              <a:gd name="connsiteY0-836" fmla="*/ 2791 h 468725"/>
              <a:gd name="connsiteX1-837" fmla="*/ 10554487 w 10555181"/>
              <a:gd name="connsiteY1-838" fmla="*/ 0 h 468725"/>
              <a:gd name="connsiteX2-839" fmla="*/ 10554690 w 10555181"/>
              <a:gd name="connsiteY2-840" fmla="*/ 125086 h 468725"/>
              <a:gd name="connsiteX3-841" fmla="*/ 1062516 w 10555181"/>
              <a:gd name="connsiteY3-842" fmla="*/ 127140 h 468725"/>
              <a:gd name="connsiteX4-843" fmla="*/ 482593 w 10555181"/>
              <a:gd name="connsiteY4-844" fmla="*/ 468725 h 468725"/>
              <a:gd name="connsiteX5-845" fmla="*/ 571 w 10555181"/>
              <a:gd name="connsiteY5-846" fmla="*/ 125867 h 468725"/>
              <a:gd name="connsiteX6-847" fmla="*/ 433 w 10555181"/>
              <a:gd name="connsiteY6-848" fmla="*/ 2791 h 468725"/>
              <a:gd name="connsiteX0-849" fmla="*/ 433 w 10555181"/>
              <a:gd name="connsiteY0-850" fmla="*/ 2791 h 468725"/>
              <a:gd name="connsiteX1-851" fmla="*/ 10554487 w 10555181"/>
              <a:gd name="connsiteY1-852" fmla="*/ 0 h 468725"/>
              <a:gd name="connsiteX2-853" fmla="*/ 10554690 w 10555181"/>
              <a:gd name="connsiteY2-854" fmla="*/ 125086 h 468725"/>
              <a:gd name="connsiteX3-855" fmla="*/ 1062516 w 10555181"/>
              <a:gd name="connsiteY3-856" fmla="*/ 127140 h 468725"/>
              <a:gd name="connsiteX4-857" fmla="*/ 482593 w 10555181"/>
              <a:gd name="connsiteY4-858" fmla="*/ 468725 h 468725"/>
              <a:gd name="connsiteX5-859" fmla="*/ 571 w 10555181"/>
              <a:gd name="connsiteY5-860" fmla="*/ 125867 h 468725"/>
              <a:gd name="connsiteX6-861" fmla="*/ 433 w 10555181"/>
              <a:gd name="connsiteY6-862" fmla="*/ 2791 h 468725"/>
              <a:gd name="connsiteX0-863" fmla="*/ 433 w 10555181"/>
              <a:gd name="connsiteY0-864" fmla="*/ 2791 h 468725"/>
              <a:gd name="connsiteX1-865" fmla="*/ 10554487 w 10555181"/>
              <a:gd name="connsiteY1-866" fmla="*/ 0 h 468725"/>
              <a:gd name="connsiteX2-867" fmla="*/ 10554690 w 10555181"/>
              <a:gd name="connsiteY2-868" fmla="*/ 125086 h 468725"/>
              <a:gd name="connsiteX3-869" fmla="*/ 1062516 w 10555181"/>
              <a:gd name="connsiteY3-870" fmla="*/ 127140 h 468725"/>
              <a:gd name="connsiteX4-871" fmla="*/ 482593 w 10555181"/>
              <a:gd name="connsiteY4-872" fmla="*/ 468725 h 468725"/>
              <a:gd name="connsiteX5-873" fmla="*/ 571 w 10555181"/>
              <a:gd name="connsiteY5-874" fmla="*/ 139671 h 468725"/>
              <a:gd name="connsiteX6-875" fmla="*/ 433 w 10555181"/>
              <a:gd name="connsiteY6-876" fmla="*/ 2791 h 468725"/>
              <a:gd name="connsiteX0-877" fmla="*/ 433 w 10555181"/>
              <a:gd name="connsiteY0-878" fmla="*/ 2791 h 468725"/>
              <a:gd name="connsiteX1-879" fmla="*/ 10554487 w 10555181"/>
              <a:gd name="connsiteY1-880" fmla="*/ 0 h 468725"/>
              <a:gd name="connsiteX2-881" fmla="*/ 10554690 w 10555181"/>
              <a:gd name="connsiteY2-882" fmla="*/ 125086 h 468725"/>
              <a:gd name="connsiteX3-883" fmla="*/ 1062516 w 10555181"/>
              <a:gd name="connsiteY3-884" fmla="*/ 127140 h 468725"/>
              <a:gd name="connsiteX4-885" fmla="*/ 482593 w 10555181"/>
              <a:gd name="connsiteY4-886" fmla="*/ 468725 h 468725"/>
              <a:gd name="connsiteX5-887" fmla="*/ 571 w 10555181"/>
              <a:gd name="connsiteY5-888" fmla="*/ 139671 h 468725"/>
              <a:gd name="connsiteX6-889" fmla="*/ 433 w 10555181"/>
              <a:gd name="connsiteY6-890" fmla="*/ 2791 h 468725"/>
              <a:gd name="connsiteX0-891" fmla="*/ 433 w 10555181"/>
              <a:gd name="connsiteY0-892" fmla="*/ 2791 h 468725"/>
              <a:gd name="connsiteX1-893" fmla="*/ 10554487 w 10555181"/>
              <a:gd name="connsiteY1-894" fmla="*/ 0 h 468725"/>
              <a:gd name="connsiteX2-895" fmla="*/ 10554690 w 10555181"/>
              <a:gd name="connsiteY2-896" fmla="*/ 125086 h 468725"/>
              <a:gd name="connsiteX3-897" fmla="*/ 1062516 w 10555181"/>
              <a:gd name="connsiteY3-898" fmla="*/ 127140 h 468725"/>
              <a:gd name="connsiteX4-899" fmla="*/ 482593 w 10555181"/>
              <a:gd name="connsiteY4-900" fmla="*/ 468725 h 468725"/>
              <a:gd name="connsiteX5-901" fmla="*/ 571 w 10555181"/>
              <a:gd name="connsiteY5-902" fmla="*/ 139671 h 468725"/>
              <a:gd name="connsiteX6-903" fmla="*/ 433 w 10555181"/>
              <a:gd name="connsiteY6-904" fmla="*/ 2791 h 468725"/>
              <a:gd name="connsiteX0-905" fmla="*/ 433 w 10555181"/>
              <a:gd name="connsiteY0-906" fmla="*/ 44066 h 468725"/>
              <a:gd name="connsiteX1-907" fmla="*/ 10554487 w 10555181"/>
              <a:gd name="connsiteY1-908" fmla="*/ 0 h 468725"/>
              <a:gd name="connsiteX2-909" fmla="*/ 10554690 w 10555181"/>
              <a:gd name="connsiteY2-910" fmla="*/ 125086 h 468725"/>
              <a:gd name="connsiteX3-911" fmla="*/ 1062516 w 10555181"/>
              <a:gd name="connsiteY3-912" fmla="*/ 127140 h 468725"/>
              <a:gd name="connsiteX4-913" fmla="*/ 482593 w 10555181"/>
              <a:gd name="connsiteY4-914" fmla="*/ 468725 h 468725"/>
              <a:gd name="connsiteX5-915" fmla="*/ 571 w 10555181"/>
              <a:gd name="connsiteY5-916" fmla="*/ 139671 h 468725"/>
              <a:gd name="connsiteX6-917" fmla="*/ 433 w 10555181"/>
              <a:gd name="connsiteY6-918" fmla="*/ 44066 h 468725"/>
              <a:gd name="connsiteX0-919" fmla="*/ 433 w 10554690"/>
              <a:gd name="connsiteY0-920" fmla="*/ 5966 h 430625"/>
              <a:gd name="connsiteX1-921" fmla="*/ 10551351 w 10554690"/>
              <a:gd name="connsiteY1-922" fmla="*/ 0 h 430625"/>
              <a:gd name="connsiteX2-923" fmla="*/ 10554690 w 10554690"/>
              <a:gd name="connsiteY2-924" fmla="*/ 86986 h 430625"/>
              <a:gd name="connsiteX3-925" fmla="*/ 1062516 w 10554690"/>
              <a:gd name="connsiteY3-926" fmla="*/ 89040 h 430625"/>
              <a:gd name="connsiteX4-927" fmla="*/ 482593 w 10554690"/>
              <a:gd name="connsiteY4-928" fmla="*/ 430625 h 430625"/>
              <a:gd name="connsiteX5-929" fmla="*/ 571 w 10554690"/>
              <a:gd name="connsiteY5-930" fmla="*/ 101571 h 430625"/>
              <a:gd name="connsiteX6-931" fmla="*/ 433 w 10554690"/>
              <a:gd name="connsiteY6-932" fmla="*/ 5966 h 430625"/>
              <a:gd name="connsiteX0-933" fmla="*/ 433 w 10554690"/>
              <a:gd name="connsiteY0-934" fmla="*/ 5966 h 427450"/>
              <a:gd name="connsiteX1-935" fmla="*/ 10551351 w 10554690"/>
              <a:gd name="connsiteY1-936" fmla="*/ 0 h 427450"/>
              <a:gd name="connsiteX2-937" fmla="*/ 10554690 w 10554690"/>
              <a:gd name="connsiteY2-938" fmla="*/ 86986 h 427450"/>
              <a:gd name="connsiteX3-939" fmla="*/ 1062516 w 10554690"/>
              <a:gd name="connsiteY3-940" fmla="*/ 89040 h 427450"/>
              <a:gd name="connsiteX4-941" fmla="*/ 482593 w 10554690"/>
              <a:gd name="connsiteY4-942" fmla="*/ 427450 h 427450"/>
              <a:gd name="connsiteX5-943" fmla="*/ 571 w 10554690"/>
              <a:gd name="connsiteY5-944" fmla="*/ 101571 h 427450"/>
              <a:gd name="connsiteX6-945" fmla="*/ 433 w 10554690"/>
              <a:gd name="connsiteY6-946" fmla="*/ 5966 h 427450"/>
              <a:gd name="connsiteX0-947" fmla="*/ 433 w 10554690"/>
              <a:gd name="connsiteY0-948" fmla="*/ 5966 h 427450"/>
              <a:gd name="connsiteX1-949" fmla="*/ 10551351 w 10554690"/>
              <a:gd name="connsiteY1-950" fmla="*/ 0 h 427450"/>
              <a:gd name="connsiteX2-951" fmla="*/ 10554690 w 10554690"/>
              <a:gd name="connsiteY2-952" fmla="*/ 86986 h 427450"/>
              <a:gd name="connsiteX3-953" fmla="*/ 10274940 w 10554690"/>
              <a:gd name="connsiteY3-954" fmla="*/ 87717 h 427450"/>
              <a:gd name="connsiteX4-955" fmla="*/ 1062516 w 10554690"/>
              <a:gd name="connsiteY4-956" fmla="*/ 89040 h 427450"/>
              <a:gd name="connsiteX5-957" fmla="*/ 482593 w 10554690"/>
              <a:gd name="connsiteY5-958" fmla="*/ 427450 h 427450"/>
              <a:gd name="connsiteX6-959" fmla="*/ 571 w 10554690"/>
              <a:gd name="connsiteY6-960" fmla="*/ 101571 h 427450"/>
              <a:gd name="connsiteX7-961" fmla="*/ 433 w 10554690"/>
              <a:gd name="connsiteY7-962" fmla="*/ 5966 h 427450"/>
              <a:gd name="connsiteX0-963" fmla="*/ 433 w 10554691"/>
              <a:gd name="connsiteY0-964" fmla="*/ 75754 h 497238"/>
              <a:gd name="connsiteX1-965" fmla="*/ 10551351 w 10554691"/>
              <a:gd name="connsiteY1-966" fmla="*/ 69788 h 497238"/>
              <a:gd name="connsiteX2-967" fmla="*/ 10554691 w 10554691"/>
              <a:gd name="connsiteY2-968" fmla="*/ 64699 h 497238"/>
              <a:gd name="connsiteX3-969" fmla="*/ 10274940 w 10554691"/>
              <a:gd name="connsiteY3-970" fmla="*/ 157505 h 497238"/>
              <a:gd name="connsiteX4-971" fmla="*/ 1062516 w 10554691"/>
              <a:gd name="connsiteY4-972" fmla="*/ 158828 h 497238"/>
              <a:gd name="connsiteX5-973" fmla="*/ 482593 w 10554691"/>
              <a:gd name="connsiteY5-974" fmla="*/ 497238 h 497238"/>
              <a:gd name="connsiteX6-975" fmla="*/ 571 w 10554691"/>
              <a:gd name="connsiteY6-976" fmla="*/ 171359 h 497238"/>
              <a:gd name="connsiteX7-977" fmla="*/ 433 w 10554691"/>
              <a:gd name="connsiteY7-978" fmla="*/ 75754 h 497238"/>
              <a:gd name="connsiteX0-979" fmla="*/ 433 w 10554691"/>
              <a:gd name="connsiteY0-980" fmla="*/ 75754 h 497238"/>
              <a:gd name="connsiteX1-981" fmla="*/ 10551351 w 10554691"/>
              <a:gd name="connsiteY1-982" fmla="*/ 69788 h 497238"/>
              <a:gd name="connsiteX2-983" fmla="*/ 10554691 w 10554691"/>
              <a:gd name="connsiteY2-984" fmla="*/ 64699 h 497238"/>
              <a:gd name="connsiteX3-985" fmla="*/ 10274940 w 10554691"/>
              <a:gd name="connsiteY3-986" fmla="*/ 157505 h 497238"/>
              <a:gd name="connsiteX4-987" fmla="*/ 1062516 w 10554691"/>
              <a:gd name="connsiteY4-988" fmla="*/ 158828 h 497238"/>
              <a:gd name="connsiteX5-989" fmla="*/ 482593 w 10554691"/>
              <a:gd name="connsiteY5-990" fmla="*/ 497238 h 497238"/>
              <a:gd name="connsiteX6-991" fmla="*/ 571 w 10554691"/>
              <a:gd name="connsiteY6-992" fmla="*/ 171359 h 497238"/>
              <a:gd name="connsiteX7-993" fmla="*/ 433 w 10554691"/>
              <a:gd name="connsiteY7-994" fmla="*/ 75754 h 497238"/>
              <a:gd name="connsiteX0-995" fmla="*/ 433 w 10554691"/>
              <a:gd name="connsiteY0-996" fmla="*/ 75754 h 497238"/>
              <a:gd name="connsiteX1-997" fmla="*/ 10551351 w 10554691"/>
              <a:gd name="connsiteY1-998" fmla="*/ 69788 h 497238"/>
              <a:gd name="connsiteX2-999" fmla="*/ 10554691 w 10554691"/>
              <a:gd name="connsiteY2-1000" fmla="*/ 64699 h 497238"/>
              <a:gd name="connsiteX3-1001" fmla="*/ 10274940 w 10554691"/>
              <a:gd name="connsiteY3-1002" fmla="*/ 157505 h 497238"/>
              <a:gd name="connsiteX4-1003" fmla="*/ 1062516 w 10554691"/>
              <a:gd name="connsiteY4-1004" fmla="*/ 158828 h 497238"/>
              <a:gd name="connsiteX5-1005" fmla="*/ 482593 w 10554691"/>
              <a:gd name="connsiteY5-1006" fmla="*/ 497238 h 497238"/>
              <a:gd name="connsiteX6-1007" fmla="*/ 571 w 10554691"/>
              <a:gd name="connsiteY6-1008" fmla="*/ 171359 h 497238"/>
              <a:gd name="connsiteX7-1009" fmla="*/ 433 w 10554691"/>
              <a:gd name="connsiteY7-1010" fmla="*/ 75754 h 497238"/>
              <a:gd name="connsiteX0-1011" fmla="*/ 433 w 10554691"/>
              <a:gd name="connsiteY0-1012" fmla="*/ 60438 h 481922"/>
              <a:gd name="connsiteX1-1013" fmla="*/ 10551351 w 10554691"/>
              <a:gd name="connsiteY1-1014" fmla="*/ 54472 h 481922"/>
              <a:gd name="connsiteX2-1015" fmla="*/ 10554691 w 10554691"/>
              <a:gd name="connsiteY2-1016" fmla="*/ 49383 h 481922"/>
              <a:gd name="connsiteX3-1017" fmla="*/ 10274940 w 10554691"/>
              <a:gd name="connsiteY3-1018" fmla="*/ 142189 h 481922"/>
              <a:gd name="connsiteX4-1019" fmla="*/ 1062516 w 10554691"/>
              <a:gd name="connsiteY4-1020" fmla="*/ 143512 h 481922"/>
              <a:gd name="connsiteX5-1021" fmla="*/ 482593 w 10554691"/>
              <a:gd name="connsiteY5-1022" fmla="*/ 481922 h 481922"/>
              <a:gd name="connsiteX6-1023" fmla="*/ 571 w 10554691"/>
              <a:gd name="connsiteY6-1024" fmla="*/ 156043 h 481922"/>
              <a:gd name="connsiteX7-1025" fmla="*/ 433 w 10554691"/>
              <a:gd name="connsiteY7-1026" fmla="*/ 60438 h 481922"/>
              <a:gd name="connsiteX0-1027" fmla="*/ 433 w 11661532"/>
              <a:gd name="connsiteY0-1028" fmla="*/ 5966 h 427450"/>
              <a:gd name="connsiteX1-1029" fmla="*/ 10551351 w 11661532"/>
              <a:gd name="connsiteY1-1030" fmla="*/ 0 h 427450"/>
              <a:gd name="connsiteX2-1031" fmla="*/ 10274940 w 11661532"/>
              <a:gd name="connsiteY2-1032" fmla="*/ 87717 h 427450"/>
              <a:gd name="connsiteX3-1033" fmla="*/ 1062516 w 11661532"/>
              <a:gd name="connsiteY3-1034" fmla="*/ 89040 h 427450"/>
              <a:gd name="connsiteX4-1035" fmla="*/ 482593 w 11661532"/>
              <a:gd name="connsiteY4-1036" fmla="*/ 427450 h 427450"/>
              <a:gd name="connsiteX5-1037" fmla="*/ 571 w 11661532"/>
              <a:gd name="connsiteY5-1038" fmla="*/ 101571 h 427450"/>
              <a:gd name="connsiteX6-1039" fmla="*/ 433 w 11661532"/>
              <a:gd name="connsiteY6-1040" fmla="*/ 5966 h 427450"/>
              <a:gd name="connsiteX0-1041" fmla="*/ 433 w 11071037"/>
              <a:gd name="connsiteY0-1042" fmla="*/ 6015 h 427499"/>
              <a:gd name="connsiteX1-1043" fmla="*/ 10551351 w 11071037"/>
              <a:gd name="connsiteY1-1044" fmla="*/ 49 h 427499"/>
              <a:gd name="connsiteX2-1045" fmla="*/ 10274940 w 11071037"/>
              <a:gd name="connsiteY2-1046" fmla="*/ 87766 h 427499"/>
              <a:gd name="connsiteX3-1047" fmla="*/ 1062516 w 11071037"/>
              <a:gd name="connsiteY3-1048" fmla="*/ 89089 h 427499"/>
              <a:gd name="connsiteX4-1049" fmla="*/ 482593 w 11071037"/>
              <a:gd name="connsiteY4-1050" fmla="*/ 427499 h 427499"/>
              <a:gd name="connsiteX5-1051" fmla="*/ 571 w 11071037"/>
              <a:gd name="connsiteY5-1052" fmla="*/ 101620 h 427499"/>
              <a:gd name="connsiteX6-1053" fmla="*/ 433 w 11071037"/>
              <a:gd name="connsiteY6-1054" fmla="*/ 6015 h 427499"/>
              <a:gd name="connsiteX0-1055" fmla="*/ 433 w 11057538"/>
              <a:gd name="connsiteY0-1056" fmla="*/ 5966 h 427450"/>
              <a:gd name="connsiteX1-1057" fmla="*/ 10551351 w 11057538"/>
              <a:gd name="connsiteY1-1058" fmla="*/ 0 h 427450"/>
              <a:gd name="connsiteX2-1059" fmla="*/ 10274940 w 11057538"/>
              <a:gd name="connsiteY2-1060" fmla="*/ 87717 h 427450"/>
              <a:gd name="connsiteX3-1061" fmla="*/ 1062516 w 11057538"/>
              <a:gd name="connsiteY3-1062" fmla="*/ 89040 h 427450"/>
              <a:gd name="connsiteX4-1063" fmla="*/ 482593 w 11057538"/>
              <a:gd name="connsiteY4-1064" fmla="*/ 427450 h 427450"/>
              <a:gd name="connsiteX5-1065" fmla="*/ 571 w 11057538"/>
              <a:gd name="connsiteY5-1066" fmla="*/ 101571 h 427450"/>
              <a:gd name="connsiteX6-1067" fmla="*/ 433 w 11057538"/>
              <a:gd name="connsiteY6-1068" fmla="*/ 5966 h 427450"/>
              <a:gd name="connsiteX0-1069" fmla="*/ 433 w 10551351"/>
              <a:gd name="connsiteY0-1070" fmla="*/ 5966 h 427450"/>
              <a:gd name="connsiteX1-1071" fmla="*/ 10551351 w 10551351"/>
              <a:gd name="connsiteY1-1072" fmla="*/ 0 h 427450"/>
              <a:gd name="connsiteX2-1073" fmla="*/ 10274940 w 10551351"/>
              <a:gd name="connsiteY2-1074" fmla="*/ 87717 h 427450"/>
              <a:gd name="connsiteX3-1075" fmla="*/ 1062516 w 10551351"/>
              <a:gd name="connsiteY3-1076" fmla="*/ 89040 h 427450"/>
              <a:gd name="connsiteX4-1077" fmla="*/ 482593 w 10551351"/>
              <a:gd name="connsiteY4-1078" fmla="*/ 427450 h 427450"/>
              <a:gd name="connsiteX5-1079" fmla="*/ 571 w 10551351"/>
              <a:gd name="connsiteY5-1080" fmla="*/ 101571 h 427450"/>
              <a:gd name="connsiteX6-1081" fmla="*/ 433 w 10551351"/>
              <a:gd name="connsiteY6-1082" fmla="*/ 5966 h 427450"/>
              <a:gd name="connsiteX0-1083" fmla="*/ 433 w 10551351"/>
              <a:gd name="connsiteY0-1084" fmla="*/ 5966 h 341725"/>
              <a:gd name="connsiteX1-1085" fmla="*/ 10551351 w 10551351"/>
              <a:gd name="connsiteY1-1086" fmla="*/ 0 h 341725"/>
              <a:gd name="connsiteX2-1087" fmla="*/ 10274940 w 10551351"/>
              <a:gd name="connsiteY2-1088" fmla="*/ 87717 h 341725"/>
              <a:gd name="connsiteX3-1089" fmla="*/ 1062516 w 10551351"/>
              <a:gd name="connsiteY3-1090" fmla="*/ 89040 h 341725"/>
              <a:gd name="connsiteX4-1091" fmla="*/ 482593 w 10551351"/>
              <a:gd name="connsiteY4-1092" fmla="*/ 341725 h 341725"/>
              <a:gd name="connsiteX5-1093" fmla="*/ 571 w 10551351"/>
              <a:gd name="connsiteY5-1094" fmla="*/ 101571 h 341725"/>
              <a:gd name="connsiteX6-1095" fmla="*/ 433 w 10551351"/>
              <a:gd name="connsiteY6-1096" fmla="*/ 5966 h 341725"/>
              <a:gd name="connsiteX0-1097" fmla="*/ 433 w 10551351"/>
              <a:gd name="connsiteY0-1098" fmla="*/ 5966 h 341725"/>
              <a:gd name="connsiteX1-1099" fmla="*/ 10551351 w 10551351"/>
              <a:gd name="connsiteY1-1100" fmla="*/ 0 h 341725"/>
              <a:gd name="connsiteX2-1101" fmla="*/ 10274940 w 10551351"/>
              <a:gd name="connsiteY2-1102" fmla="*/ 87717 h 341725"/>
              <a:gd name="connsiteX3-1103" fmla="*/ 1062516 w 10551351"/>
              <a:gd name="connsiteY3-1104" fmla="*/ 89040 h 341725"/>
              <a:gd name="connsiteX4-1105" fmla="*/ 482593 w 10551351"/>
              <a:gd name="connsiteY4-1106" fmla="*/ 341725 h 341725"/>
              <a:gd name="connsiteX5-1107" fmla="*/ 571 w 10551351"/>
              <a:gd name="connsiteY5-1108" fmla="*/ 101571 h 341725"/>
              <a:gd name="connsiteX6-1109" fmla="*/ 433 w 10551351"/>
              <a:gd name="connsiteY6-1110" fmla="*/ 5966 h 341725"/>
              <a:gd name="connsiteX0-1111" fmla="*/ 433 w 10551351"/>
              <a:gd name="connsiteY0-1112" fmla="*/ 5966 h 341725"/>
              <a:gd name="connsiteX1-1113" fmla="*/ 10551351 w 10551351"/>
              <a:gd name="connsiteY1-1114" fmla="*/ 0 h 341725"/>
              <a:gd name="connsiteX2-1115" fmla="*/ 10274940 w 10551351"/>
              <a:gd name="connsiteY2-1116" fmla="*/ 87717 h 341725"/>
              <a:gd name="connsiteX3-1117" fmla="*/ 1062516 w 10551351"/>
              <a:gd name="connsiteY3-1118" fmla="*/ 89040 h 341725"/>
              <a:gd name="connsiteX4-1119" fmla="*/ 482593 w 10551351"/>
              <a:gd name="connsiteY4-1120" fmla="*/ 341725 h 341725"/>
              <a:gd name="connsiteX5-1121" fmla="*/ 571 w 10551351"/>
              <a:gd name="connsiteY5-1122" fmla="*/ 101571 h 341725"/>
              <a:gd name="connsiteX6-1123" fmla="*/ 433 w 10551351"/>
              <a:gd name="connsiteY6-1124" fmla="*/ 5966 h 341725"/>
              <a:gd name="connsiteX0-1125" fmla="*/ 433 w 10551351"/>
              <a:gd name="connsiteY0-1126" fmla="*/ 5966 h 341725"/>
              <a:gd name="connsiteX1-1127" fmla="*/ 10551351 w 10551351"/>
              <a:gd name="connsiteY1-1128" fmla="*/ 0 h 341725"/>
              <a:gd name="connsiteX2-1129" fmla="*/ 10274940 w 10551351"/>
              <a:gd name="connsiteY2-1130" fmla="*/ 87717 h 341725"/>
              <a:gd name="connsiteX3-1131" fmla="*/ 1062516 w 10551351"/>
              <a:gd name="connsiteY3-1132" fmla="*/ 89040 h 341725"/>
              <a:gd name="connsiteX4-1133" fmla="*/ 482593 w 10551351"/>
              <a:gd name="connsiteY4-1134" fmla="*/ 341725 h 341725"/>
              <a:gd name="connsiteX5-1135" fmla="*/ 571 w 10551351"/>
              <a:gd name="connsiteY5-1136" fmla="*/ 101571 h 341725"/>
              <a:gd name="connsiteX6-1137" fmla="*/ 433 w 10551351"/>
              <a:gd name="connsiteY6-1138" fmla="*/ 5966 h 341725"/>
              <a:gd name="connsiteX0-1139" fmla="*/ 0 w 11177990"/>
              <a:gd name="connsiteY0-1140" fmla="*/ 2791 h 341725"/>
              <a:gd name="connsiteX1-1141" fmla="*/ 11177990 w 11177990"/>
              <a:gd name="connsiteY1-1142" fmla="*/ 0 h 341725"/>
              <a:gd name="connsiteX2-1143" fmla="*/ 10901579 w 11177990"/>
              <a:gd name="connsiteY2-1144" fmla="*/ 87717 h 341725"/>
              <a:gd name="connsiteX3-1145" fmla="*/ 1689155 w 11177990"/>
              <a:gd name="connsiteY3-1146" fmla="*/ 89040 h 341725"/>
              <a:gd name="connsiteX4-1147" fmla="*/ 1109232 w 11177990"/>
              <a:gd name="connsiteY4-1148" fmla="*/ 341725 h 341725"/>
              <a:gd name="connsiteX5-1149" fmla="*/ 627210 w 11177990"/>
              <a:gd name="connsiteY5-1150" fmla="*/ 101571 h 341725"/>
              <a:gd name="connsiteX6-1151" fmla="*/ 0 w 11177990"/>
              <a:gd name="connsiteY6-1152" fmla="*/ 2791 h 341725"/>
              <a:gd name="connsiteX0-1153" fmla="*/ 780014 w 11958004"/>
              <a:gd name="connsiteY0-1154" fmla="*/ 2791 h 341725"/>
              <a:gd name="connsiteX1-1155" fmla="*/ 11958004 w 11958004"/>
              <a:gd name="connsiteY1-1156" fmla="*/ 0 h 341725"/>
              <a:gd name="connsiteX2-1157" fmla="*/ 11681593 w 11958004"/>
              <a:gd name="connsiteY2-1158" fmla="*/ 87717 h 341725"/>
              <a:gd name="connsiteX3-1159" fmla="*/ 2469169 w 11958004"/>
              <a:gd name="connsiteY3-1160" fmla="*/ 89040 h 341725"/>
              <a:gd name="connsiteX4-1161" fmla="*/ 1889246 w 11958004"/>
              <a:gd name="connsiteY4-1162" fmla="*/ 341725 h 341725"/>
              <a:gd name="connsiteX5-1163" fmla="*/ 1407224 w 11958004"/>
              <a:gd name="connsiteY5-1164" fmla="*/ 101571 h 341725"/>
              <a:gd name="connsiteX6-1165" fmla="*/ 998158 w 11958004"/>
              <a:gd name="connsiteY6-1166" fmla="*/ 40093 h 341725"/>
              <a:gd name="connsiteX7-1167" fmla="*/ 780014 w 11958004"/>
              <a:gd name="connsiteY7-1168" fmla="*/ 2791 h 341725"/>
              <a:gd name="connsiteX0-1169" fmla="*/ 758495 w 11936485"/>
              <a:gd name="connsiteY0-1170" fmla="*/ 2791 h 341725"/>
              <a:gd name="connsiteX1-1171" fmla="*/ 11936485 w 11936485"/>
              <a:gd name="connsiteY1-1172" fmla="*/ 0 h 341725"/>
              <a:gd name="connsiteX2-1173" fmla="*/ 11660074 w 11936485"/>
              <a:gd name="connsiteY2-1174" fmla="*/ 87717 h 341725"/>
              <a:gd name="connsiteX3-1175" fmla="*/ 2447650 w 11936485"/>
              <a:gd name="connsiteY3-1176" fmla="*/ 89040 h 341725"/>
              <a:gd name="connsiteX4-1177" fmla="*/ 1867727 w 11936485"/>
              <a:gd name="connsiteY4-1178" fmla="*/ 341725 h 341725"/>
              <a:gd name="connsiteX5-1179" fmla="*/ 1385705 w 11936485"/>
              <a:gd name="connsiteY5-1180" fmla="*/ 101571 h 341725"/>
              <a:gd name="connsiteX6-1181" fmla="*/ 976639 w 11936485"/>
              <a:gd name="connsiteY6-1182" fmla="*/ 40093 h 341725"/>
              <a:gd name="connsiteX7-1183" fmla="*/ 758495 w 11936485"/>
              <a:gd name="connsiteY7-1184" fmla="*/ 2791 h 341725"/>
              <a:gd name="connsiteX0-1185" fmla="*/ 0 w 11177990"/>
              <a:gd name="connsiteY0-1186" fmla="*/ 2791 h 341725"/>
              <a:gd name="connsiteX1-1187" fmla="*/ 11177990 w 11177990"/>
              <a:gd name="connsiteY1-1188" fmla="*/ 0 h 341725"/>
              <a:gd name="connsiteX2-1189" fmla="*/ 10901579 w 11177990"/>
              <a:gd name="connsiteY2-1190" fmla="*/ 87717 h 341725"/>
              <a:gd name="connsiteX3-1191" fmla="*/ 1689155 w 11177990"/>
              <a:gd name="connsiteY3-1192" fmla="*/ 89040 h 341725"/>
              <a:gd name="connsiteX4-1193" fmla="*/ 1109232 w 11177990"/>
              <a:gd name="connsiteY4-1194" fmla="*/ 341725 h 341725"/>
              <a:gd name="connsiteX5-1195" fmla="*/ 627210 w 11177990"/>
              <a:gd name="connsiteY5-1196" fmla="*/ 101571 h 341725"/>
              <a:gd name="connsiteX6-1197" fmla="*/ 218144 w 11177990"/>
              <a:gd name="connsiteY6-1198" fmla="*/ 40093 h 341725"/>
              <a:gd name="connsiteX7-1199" fmla="*/ 0 w 11177990"/>
              <a:gd name="connsiteY7-1200" fmla="*/ 2791 h 341725"/>
              <a:gd name="connsiteX0-1201" fmla="*/ 1331 w 11179321"/>
              <a:gd name="connsiteY0-1202" fmla="*/ 2791 h 341725"/>
              <a:gd name="connsiteX1-1203" fmla="*/ 11179321 w 11179321"/>
              <a:gd name="connsiteY1-1204" fmla="*/ 0 h 341725"/>
              <a:gd name="connsiteX2-1205" fmla="*/ 10902910 w 11179321"/>
              <a:gd name="connsiteY2-1206" fmla="*/ 87717 h 341725"/>
              <a:gd name="connsiteX3-1207" fmla="*/ 1690486 w 11179321"/>
              <a:gd name="connsiteY3-1208" fmla="*/ 89040 h 341725"/>
              <a:gd name="connsiteX4-1209" fmla="*/ 1110563 w 11179321"/>
              <a:gd name="connsiteY4-1210" fmla="*/ 341725 h 341725"/>
              <a:gd name="connsiteX5-1211" fmla="*/ 628541 w 11179321"/>
              <a:gd name="connsiteY5-1212" fmla="*/ 101571 h 341725"/>
              <a:gd name="connsiteX6-1213" fmla="*/ 0 w 11179321"/>
              <a:gd name="connsiteY6-1214" fmla="*/ 94068 h 341725"/>
              <a:gd name="connsiteX7-1215" fmla="*/ 1331 w 11179321"/>
              <a:gd name="connsiteY7-1216" fmla="*/ 2791 h 341725"/>
              <a:gd name="connsiteX0-1217" fmla="*/ 1331 w 11179321"/>
              <a:gd name="connsiteY0-1218" fmla="*/ 2791 h 341725"/>
              <a:gd name="connsiteX1-1219" fmla="*/ 11179321 w 11179321"/>
              <a:gd name="connsiteY1-1220" fmla="*/ 0 h 341725"/>
              <a:gd name="connsiteX2-1221" fmla="*/ 10902910 w 11179321"/>
              <a:gd name="connsiteY2-1222" fmla="*/ 87717 h 341725"/>
              <a:gd name="connsiteX3-1223" fmla="*/ 1690486 w 11179321"/>
              <a:gd name="connsiteY3-1224" fmla="*/ 89040 h 341725"/>
              <a:gd name="connsiteX4-1225" fmla="*/ 1110563 w 11179321"/>
              <a:gd name="connsiteY4-1226" fmla="*/ 341725 h 341725"/>
              <a:gd name="connsiteX5-1227" fmla="*/ 628541 w 11179321"/>
              <a:gd name="connsiteY5-1228" fmla="*/ 101571 h 341725"/>
              <a:gd name="connsiteX6-1229" fmla="*/ 0 w 11179321"/>
              <a:gd name="connsiteY6-1230" fmla="*/ 94068 h 341725"/>
              <a:gd name="connsiteX7-1231" fmla="*/ 1331 w 11179321"/>
              <a:gd name="connsiteY7-1232" fmla="*/ 2791 h 341725"/>
              <a:gd name="connsiteX0-1233" fmla="*/ 1331 w 11179321"/>
              <a:gd name="connsiteY0-1234" fmla="*/ 2791 h 341725"/>
              <a:gd name="connsiteX1-1235" fmla="*/ 11179321 w 11179321"/>
              <a:gd name="connsiteY1-1236" fmla="*/ 0 h 341725"/>
              <a:gd name="connsiteX2-1237" fmla="*/ 10902910 w 11179321"/>
              <a:gd name="connsiteY2-1238" fmla="*/ 87717 h 341725"/>
              <a:gd name="connsiteX3-1239" fmla="*/ 1690486 w 11179321"/>
              <a:gd name="connsiteY3-1240" fmla="*/ 89040 h 341725"/>
              <a:gd name="connsiteX4-1241" fmla="*/ 1110563 w 11179321"/>
              <a:gd name="connsiteY4-1242" fmla="*/ 341725 h 341725"/>
              <a:gd name="connsiteX5-1243" fmla="*/ 628541 w 11179321"/>
              <a:gd name="connsiteY5-1244" fmla="*/ 101571 h 341725"/>
              <a:gd name="connsiteX6-1245" fmla="*/ 0 w 11179321"/>
              <a:gd name="connsiteY6-1246" fmla="*/ 94068 h 341725"/>
              <a:gd name="connsiteX7-1247" fmla="*/ 1331 w 11179321"/>
              <a:gd name="connsiteY7-1248" fmla="*/ 2791 h 341725"/>
              <a:gd name="connsiteX0-1249" fmla="*/ 1331 w 11179321"/>
              <a:gd name="connsiteY0-1250" fmla="*/ 2791 h 341725"/>
              <a:gd name="connsiteX1-1251" fmla="*/ 11179321 w 11179321"/>
              <a:gd name="connsiteY1-1252" fmla="*/ 0 h 341725"/>
              <a:gd name="connsiteX2-1253" fmla="*/ 10902910 w 11179321"/>
              <a:gd name="connsiteY2-1254" fmla="*/ 87717 h 341725"/>
              <a:gd name="connsiteX3-1255" fmla="*/ 1690486 w 11179321"/>
              <a:gd name="connsiteY3-1256" fmla="*/ 89040 h 341725"/>
              <a:gd name="connsiteX4-1257" fmla="*/ 1110563 w 11179321"/>
              <a:gd name="connsiteY4-1258" fmla="*/ 341725 h 341725"/>
              <a:gd name="connsiteX5-1259" fmla="*/ 628541 w 11179321"/>
              <a:gd name="connsiteY5-1260" fmla="*/ 101571 h 341725"/>
              <a:gd name="connsiteX6-1261" fmla="*/ 0 w 11179321"/>
              <a:gd name="connsiteY6-1262" fmla="*/ 103593 h 341725"/>
              <a:gd name="connsiteX7-1263" fmla="*/ 1331 w 11179321"/>
              <a:gd name="connsiteY7-1264" fmla="*/ 2791 h 341725"/>
              <a:gd name="connsiteX0-1265" fmla="*/ 1331 w 11179321"/>
              <a:gd name="connsiteY0-1266" fmla="*/ 2791 h 341725"/>
              <a:gd name="connsiteX1-1267" fmla="*/ 11179321 w 11179321"/>
              <a:gd name="connsiteY1-1268" fmla="*/ 0 h 341725"/>
              <a:gd name="connsiteX2-1269" fmla="*/ 10567427 w 11179321"/>
              <a:gd name="connsiteY2-1270" fmla="*/ 90892 h 341725"/>
              <a:gd name="connsiteX3-1271" fmla="*/ 1690486 w 11179321"/>
              <a:gd name="connsiteY3-1272" fmla="*/ 89040 h 341725"/>
              <a:gd name="connsiteX4-1273" fmla="*/ 1110563 w 11179321"/>
              <a:gd name="connsiteY4-1274" fmla="*/ 341725 h 341725"/>
              <a:gd name="connsiteX5-1275" fmla="*/ 628541 w 11179321"/>
              <a:gd name="connsiteY5-1276" fmla="*/ 101571 h 341725"/>
              <a:gd name="connsiteX6-1277" fmla="*/ 0 w 11179321"/>
              <a:gd name="connsiteY6-1278" fmla="*/ 103593 h 341725"/>
              <a:gd name="connsiteX7-1279" fmla="*/ 1331 w 11179321"/>
              <a:gd name="connsiteY7-1280" fmla="*/ 2791 h 341725"/>
              <a:gd name="connsiteX0-1281" fmla="*/ 1331 w 10600099"/>
              <a:gd name="connsiteY0-1282" fmla="*/ 2791 h 341725"/>
              <a:gd name="connsiteX1-1283" fmla="*/ 10561656 w 10600099"/>
              <a:gd name="connsiteY1-1284" fmla="*/ 0 h 341725"/>
              <a:gd name="connsiteX2-1285" fmla="*/ 10567427 w 10600099"/>
              <a:gd name="connsiteY2-1286" fmla="*/ 90892 h 341725"/>
              <a:gd name="connsiteX3-1287" fmla="*/ 1690486 w 10600099"/>
              <a:gd name="connsiteY3-1288" fmla="*/ 89040 h 341725"/>
              <a:gd name="connsiteX4-1289" fmla="*/ 1110563 w 10600099"/>
              <a:gd name="connsiteY4-1290" fmla="*/ 341725 h 341725"/>
              <a:gd name="connsiteX5-1291" fmla="*/ 628541 w 10600099"/>
              <a:gd name="connsiteY5-1292" fmla="*/ 101571 h 341725"/>
              <a:gd name="connsiteX6-1293" fmla="*/ 0 w 10600099"/>
              <a:gd name="connsiteY6-1294" fmla="*/ 103593 h 341725"/>
              <a:gd name="connsiteX7-1295" fmla="*/ 1331 w 10600099"/>
              <a:gd name="connsiteY7-1296" fmla="*/ 2791 h 341725"/>
              <a:gd name="connsiteX0-1297" fmla="*/ 1331 w 10567427"/>
              <a:gd name="connsiteY0-1298" fmla="*/ 2791 h 341725"/>
              <a:gd name="connsiteX1-1299" fmla="*/ 10561656 w 10567427"/>
              <a:gd name="connsiteY1-1300" fmla="*/ 0 h 341725"/>
              <a:gd name="connsiteX2-1301" fmla="*/ 10567427 w 10567427"/>
              <a:gd name="connsiteY2-1302" fmla="*/ 90892 h 341725"/>
              <a:gd name="connsiteX3-1303" fmla="*/ 1690486 w 10567427"/>
              <a:gd name="connsiteY3-1304" fmla="*/ 89040 h 341725"/>
              <a:gd name="connsiteX4-1305" fmla="*/ 1110563 w 10567427"/>
              <a:gd name="connsiteY4-1306" fmla="*/ 341725 h 341725"/>
              <a:gd name="connsiteX5-1307" fmla="*/ 628541 w 10567427"/>
              <a:gd name="connsiteY5-1308" fmla="*/ 101571 h 341725"/>
              <a:gd name="connsiteX6-1309" fmla="*/ 0 w 10567427"/>
              <a:gd name="connsiteY6-1310" fmla="*/ 103593 h 341725"/>
              <a:gd name="connsiteX7-1311" fmla="*/ 1331 w 10567427"/>
              <a:gd name="connsiteY7-1312" fmla="*/ 2791 h 341725"/>
              <a:gd name="connsiteX0-1313" fmla="*/ 1331 w 10561687"/>
              <a:gd name="connsiteY0-1314" fmla="*/ 2791 h 341725"/>
              <a:gd name="connsiteX1-1315" fmla="*/ 10561656 w 10561687"/>
              <a:gd name="connsiteY1-1316" fmla="*/ 0 h 341725"/>
              <a:gd name="connsiteX2-1317" fmla="*/ 10561157 w 10561687"/>
              <a:gd name="connsiteY2-1318" fmla="*/ 90892 h 341725"/>
              <a:gd name="connsiteX3-1319" fmla="*/ 1690486 w 10561687"/>
              <a:gd name="connsiteY3-1320" fmla="*/ 89040 h 341725"/>
              <a:gd name="connsiteX4-1321" fmla="*/ 1110563 w 10561687"/>
              <a:gd name="connsiteY4-1322" fmla="*/ 341725 h 341725"/>
              <a:gd name="connsiteX5-1323" fmla="*/ 628541 w 10561687"/>
              <a:gd name="connsiteY5-1324" fmla="*/ 101571 h 341725"/>
              <a:gd name="connsiteX6-1325" fmla="*/ 0 w 10561687"/>
              <a:gd name="connsiteY6-1326" fmla="*/ 103593 h 341725"/>
              <a:gd name="connsiteX7-1327" fmla="*/ 1331 w 10561687"/>
              <a:gd name="connsiteY7-1328" fmla="*/ 2791 h 341725"/>
              <a:gd name="connsiteX0-1329" fmla="*/ 1331 w 10562072"/>
              <a:gd name="connsiteY0-1330" fmla="*/ 2791 h 341725"/>
              <a:gd name="connsiteX1-1331" fmla="*/ 10561656 w 10562072"/>
              <a:gd name="connsiteY1-1332" fmla="*/ 0 h 341725"/>
              <a:gd name="connsiteX2-1333" fmla="*/ 10561157 w 10562072"/>
              <a:gd name="connsiteY2-1334" fmla="*/ 90892 h 341725"/>
              <a:gd name="connsiteX3-1335" fmla="*/ 1690486 w 10562072"/>
              <a:gd name="connsiteY3-1336" fmla="*/ 89040 h 341725"/>
              <a:gd name="connsiteX4-1337" fmla="*/ 1110563 w 10562072"/>
              <a:gd name="connsiteY4-1338" fmla="*/ 341725 h 341725"/>
              <a:gd name="connsiteX5-1339" fmla="*/ 628541 w 10562072"/>
              <a:gd name="connsiteY5-1340" fmla="*/ 101571 h 341725"/>
              <a:gd name="connsiteX6-1341" fmla="*/ 0 w 10562072"/>
              <a:gd name="connsiteY6-1342" fmla="*/ 103593 h 341725"/>
              <a:gd name="connsiteX7-1343" fmla="*/ 1331 w 10562072"/>
              <a:gd name="connsiteY7-1344" fmla="*/ 2791 h 341725"/>
              <a:gd name="connsiteX0-1345" fmla="*/ 1331 w 10562072"/>
              <a:gd name="connsiteY0-1346" fmla="*/ 2791 h 887696"/>
              <a:gd name="connsiteX1-1347" fmla="*/ 10561656 w 10562072"/>
              <a:gd name="connsiteY1-1348" fmla="*/ 0 h 887696"/>
              <a:gd name="connsiteX2-1349" fmla="*/ 10561157 w 10562072"/>
              <a:gd name="connsiteY2-1350" fmla="*/ 90892 h 887696"/>
              <a:gd name="connsiteX3-1351" fmla="*/ 1690486 w 10562072"/>
              <a:gd name="connsiteY3-1352" fmla="*/ 89040 h 887696"/>
              <a:gd name="connsiteX4-1353" fmla="*/ 1180889 w 10562072"/>
              <a:gd name="connsiteY4-1354" fmla="*/ 887696 h 887696"/>
              <a:gd name="connsiteX5-1355" fmla="*/ 628541 w 10562072"/>
              <a:gd name="connsiteY5-1356" fmla="*/ 101571 h 887696"/>
              <a:gd name="connsiteX6-1357" fmla="*/ 0 w 10562072"/>
              <a:gd name="connsiteY6-1358" fmla="*/ 103593 h 887696"/>
              <a:gd name="connsiteX7-1359" fmla="*/ 1331 w 10562072"/>
              <a:gd name="connsiteY7-1360" fmla="*/ 2791 h 887696"/>
              <a:gd name="connsiteX0-1361" fmla="*/ 1331 w 10562072"/>
              <a:gd name="connsiteY0-1362" fmla="*/ 2791 h 887696"/>
              <a:gd name="connsiteX1-1363" fmla="*/ 10561656 w 10562072"/>
              <a:gd name="connsiteY1-1364" fmla="*/ 0 h 887696"/>
              <a:gd name="connsiteX2-1365" fmla="*/ 10561157 w 10562072"/>
              <a:gd name="connsiteY2-1366" fmla="*/ 90892 h 887696"/>
              <a:gd name="connsiteX3-1367" fmla="*/ 2317558 w 10562072"/>
              <a:gd name="connsiteY3-1368" fmla="*/ 89040 h 887696"/>
              <a:gd name="connsiteX4-1369" fmla="*/ 1180889 w 10562072"/>
              <a:gd name="connsiteY4-1370" fmla="*/ 887696 h 887696"/>
              <a:gd name="connsiteX5-1371" fmla="*/ 628541 w 10562072"/>
              <a:gd name="connsiteY5-1372" fmla="*/ 101571 h 887696"/>
              <a:gd name="connsiteX6-1373" fmla="*/ 0 w 10562072"/>
              <a:gd name="connsiteY6-1374" fmla="*/ 103593 h 887696"/>
              <a:gd name="connsiteX7-1375" fmla="*/ 1331 w 10562072"/>
              <a:gd name="connsiteY7-1376" fmla="*/ 2791 h 887696"/>
              <a:gd name="connsiteX0-1377" fmla="*/ 1331 w 10562072"/>
              <a:gd name="connsiteY0-1378" fmla="*/ 2791 h 887702"/>
              <a:gd name="connsiteX1-1379" fmla="*/ 10561656 w 10562072"/>
              <a:gd name="connsiteY1-1380" fmla="*/ 0 h 887702"/>
              <a:gd name="connsiteX2-1381" fmla="*/ 10561157 w 10562072"/>
              <a:gd name="connsiteY2-1382" fmla="*/ 90892 h 887702"/>
              <a:gd name="connsiteX3-1383" fmla="*/ 2317558 w 10562072"/>
              <a:gd name="connsiteY3-1384" fmla="*/ 89040 h 887702"/>
              <a:gd name="connsiteX4-1385" fmla="*/ 1180889 w 10562072"/>
              <a:gd name="connsiteY4-1386" fmla="*/ 887696 h 887702"/>
              <a:gd name="connsiteX5-1387" fmla="*/ 0 w 10562072"/>
              <a:gd name="connsiteY5-1388" fmla="*/ 103593 h 887702"/>
              <a:gd name="connsiteX6-1389" fmla="*/ 1331 w 10562072"/>
              <a:gd name="connsiteY6-1390" fmla="*/ 2791 h 887702"/>
              <a:gd name="connsiteX0-1391" fmla="*/ 1331 w 10562072"/>
              <a:gd name="connsiteY0-1392" fmla="*/ 2791 h 887696"/>
              <a:gd name="connsiteX1-1393" fmla="*/ 10561656 w 10562072"/>
              <a:gd name="connsiteY1-1394" fmla="*/ 0 h 887696"/>
              <a:gd name="connsiteX2-1395" fmla="*/ 10561157 w 10562072"/>
              <a:gd name="connsiteY2-1396" fmla="*/ 90892 h 887696"/>
              <a:gd name="connsiteX3-1397" fmla="*/ 2317558 w 10562072"/>
              <a:gd name="connsiteY3-1398" fmla="*/ 89040 h 887696"/>
              <a:gd name="connsiteX4-1399" fmla="*/ 1180889 w 10562072"/>
              <a:gd name="connsiteY4-1400" fmla="*/ 887696 h 887696"/>
              <a:gd name="connsiteX5-1401" fmla="*/ 0 w 10562072"/>
              <a:gd name="connsiteY5-1402" fmla="*/ 103593 h 887696"/>
              <a:gd name="connsiteX6-1403" fmla="*/ 1331 w 10562072"/>
              <a:gd name="connsiteY6-1404" fmla="*/ 2791 h 887696"/>
              <a:gd name="connsiteX0-1405" fmla="*/ 1331 w 10562072"/>
              <a:gd name="connsiteY0-1406" fmla="*/ 2791 h 887696"/>
              <a:gd name="connsiteX1-1407" fmla="*/ 10561656 w 10562072"/>
              <a:gd name="connsiteY1-1408" fmla="*/ 0 h 887696"/>
              <a:gd name="connsiteX2-1409" fmla="*/ 10561157 w 10562072"/>
              <a:gd name="connsiteY2-1410" fmla="*/ 90892 h 887696"/>
              <a:gd name="connsiteX3-1411" fmla="*/ 2317558 w 10562072"/>
              <a:gd name="connsiteY3-1412" fmla="*/ 89040 h 887696"/>
              <a:gd name="connsiteX4-1413" fmla="*/ 1180889 w 10562072"/>
              <a:gd name="connsiteY4-1414" fmla="*/ 887696 h 887696"/>
              <a:gd name="connsiteX5-1415" fmla="*/ 0 w 10562072"/>
              <a:gd name="connsiteY5-1416" fmla="*/ 103593 h 887696"/>
              <a:gd name="connsiteX6-1417" fmla="*/ 1331 w 10562072"/>
              <a:gd name="connsiteY6-1418" fmla="*/ 2791 h 887696"/>
              <a:gd name="connsiteX0-1419" fmla="*/ 1331 w 10562072"/>
              <a:gd name="connsiteY0-1420" fmla="*/ 2791 h 887696"/>
              <a:gd name="connsiteX1-1421" fmla="*/ 10561656 w 10562072"/>
              <a:gd name="connsiteY1-1422" fmla="*/ 0 h 887696"/>
              <a:gd name="connsiteX2-1423" fmla="*/ 10561157 w 10562072"/>
              <a:gd name="connsiteY2-1424" fmla="*/ 90892 h 887696"/>
              <a:gd name="connsiteX3-1425" fmla="*/ 2317558 w 10562072"/>
              <a:gd name="connsiteY3-1426" fmla="*/ 89040 h 887696"/>
              <a:gd name="connsiteX4-1427" fmla="*/ 1180889 w 10562072"/>
              <a:gd name="connsiteY4-1428" fmla="*/ 887696 h 887696"/>
              <a:gd name="connsiteX5-1429" fmla="*/ 0 w 10562072"/>
              <a:gd name="connsiteY5-1430" fmla="*/ 103593 h 887696"/>
              <a:gd name="connsiteX6-1431" fmla="*/ 1331 w 10562072"/>
              <a:gd name="connsiteY6-1432" fmla="*/ 2791 h 887696"/>
              <a:gd name="connsiteX0-1433" fmla="*/ 1331 w 10562072"/>
              <a:gd name="connsiteY0-1434" fmla="*/ 2791 h 887696"/>
              <a:gd name="connsiteX1-1435" fmla="*/ 10561656 w 10562072"/>
              <a:gd name="connsiteY1-1436" fmla="*/ 0 h 887696"/>
              <a:gd name="connsiteX2-1437" fmla="*/ 10561157 w 10562072"/>
              <a:gd name="connsiteY2-1438" fmla="*/ 90892 h 887696"/>
              <a:gd name="connsiteX3-1439" fmla="*/ 2317558 w 10562072"/>
              <a:gd name="connsiteY3-1440" fmla="*/ 89040 h 887696"/>
              <a:gd name="connsiteX4-1441" fmla="*/ 1180889 w 10562072"/>
              <a:gd name="connsiteY4-1442" fmla="*/ 887696 h 887696"/>
              <a:gd name="connsiteX5-1443" fmla="*/ 0 w 10562072"/>
              <a:gd name="connsiteY5-1444" fmla="*/ 103593 h 887696"/>
              <a:gd name="connsiteX6-1445" fmla="*/ 1331 w 10562072"/>
              <a:gd name="connsiteY6-1446" fmla="*/ 2791 h 887696"/>
              <a:gd name="connsiteX0-1447" fmla="*/ 1331 w 10562072"/>
              <a:gd name="connsiteY0-1448" fmla="*/ 2791 h 887696"/>
              <a:gd name="connsiteX1-1449" fmla="*/ 10561656 w 10562072"/>
              <a:gd name="connsiteY1-1450" fmla="*/ 0 h 887696"/>
              <a:gd name="connsiteX2-1451" fmla="*/ 10561157 w 10562072"/>
              <a:gd name="connsiteY2-1452" fmla="*/ 90892 h 887696"/>
              <a:gd name="connsiteX3-1453" fmla="*/ 2317558 w 10562072"/>
              <a:gd name="connsiteY3-1454" fmla="*/ 89040 h 887696"/>
              <a:gd name="connsiteX4-1455" fmla="*/ 1180889 w 10562072"/>
              <a:gd name="connsiteY4-1456" fmla="*/ 887696 h 887696"/>
              <a:gd name="connsiteX5-1457" fmla="*/ 0 w 10562072"/>
              <a:gd name="connsiteY5-1458" fmla="*/ 103593 h 887696"/>
              <a:gd name="connsiteX6-1459" fmla="*/ 1331 w 10562072"/>
              <a:gd name="connsiteY6-1460" fmla="*/ 2791 h 887696"/>
              <a:gd name="connsiteX0-1461" fmla="*/ 1331 w 10562072"/>
              <a:gd name="connsiteY0-1462" fmla="*/ 2791 h 887696"/>
              <a:gd name="connsiteX1-1463" fmla="*/ 10561656 w 10562072"/>
              <a:gd name="connsiteY1-1464" fmla="*/ 0 h 887696"/>
              <a:gd name="connsiteX2-1465" fmla="*/ 10561157 w 10562072"/>
              <a:gd name="connsiteY2-1466" fmla="*/ 90892 h 887696"/>
              <a:gd name="connsiteX3-1467" fmla="*/ 2317558 w 10562072"/>
              <a:gd name="connsiteY3-1468" fmla="*/ 89040 h 887696"/>
              <a:gd name="connsiteX4-1469" fmla="*/ 1180889 w 10562072"/>
              <a:gd name="connsiteY4-1470" fmla="*/ 887696 h 887696"/>
              <a:gd name="connsiteX5-1471" fmla="*/ 0 w 10562072"/>
              <a:gd name="connsiteY5-1472" fmla="*/ 103593 h 887696"/>
              <a:gd name="connsiteX6-1473" fmla="*/ 1331 w 10562072"/>
              <a:gd name="connsiteY6-1474" fmla="*/ 2791 h 887696"/>
              <a:gd name="connsiteX0-1475" fmla="*/ 1331 w 10562072"/>
              <a:gd name="connsiteY0-1476" fmla="*/ 2791 h 887696"/>
              <a:gd name="connsiteX1-1477" fmla="*/ 10561656 w 10562072"/>
              <a:gd name="connsiteY1-1478" fmla="*/ 0 h 887696"/>
              <a:gd name="connsiteX2-1479" fmla="*/ 10561157 w 10562072"/>
              <a:gd name="connsiteY2-1480" fmla="*/ 90892 h 887696"/>
              <a:gd name="connsiteX3-1481" fmla="*/ 2317558 w 10562072"/>
              <a:gd name="connsiteY3-1482" fmla="*/ 89040 h 887696"/>
              <a:gd name="connsiteX4-1483" fmla="*/ 1180889 w 10562072"/>
              <a:gd name="connsiteY4-1484" fmla="*/ 887696 h 887696"/>
              <a:gd name="connsiteX5-1485" fmla="*/ 0 w 10562072"/>
              <a:gd name="connsiteY5-1486" fmla="*/ 103593 h 887696"/>
              <a:gd name="connsiteX6-1487" fmla="*/ 1331 w 10562072"/>
              <a:gd name="connsiteY6-1488" fmla="*/ 2791 h 887696"/>
              <a:gd name="connsiteX0-1489" fmla="*/ 1331 w 10562072"/>
              <a:gd name="connsiteY0-1490" fmla="*/ 2791 h 887696"/>
              <a:gd name="connsiteX1-1491" fmla="*/ 10561656 w 10562072"/>
              <a:gd name="connsiteY1-1492" fmla="*/ 0 h 887696"/>
              <a:gd name="connsiteX2-1493" fmla="*/ 10561157 w 10562072"/>
              <a:gd name="connsiteY2-1494" fmla="*/ 90892 h 887696"/>
              <a:gd name="connsiteX3-1495" fmla="*/ 2317558 w 10562072"/>
              <a:gd name="connsiteY3-1496" fmla="*/ 89040 h 887696"/>
              <a:gd name="connsiteX4-1497" fmla="*/ 1180889 w 10562072"/>
              <a:gd name="connsiteY4-1498" fmla="*/ 887696 h 887696"/>
              <a:gd name="connsiteX5-1499" fmla="*/ 0 w 10562072"/>
              <a:gd name="connsiteY5-1500" fmla="*/ 103593 h 887696"/>
              <a:gd name="connsiteX6-1501" fmla="*/ 1331 w 10562072"/>
              <a:gd name="connsiteY6-1502" fmla="*/ 2791 h 887696"/>
              <a:gd name="connsiteX0-1503" fmla="*/ 1331 w 10562072"/>
              <a:gd name="connsiteY0-1504" fmla="*/ 2791 h 887696"/>
              <a:gd name="connsiteX1-1505" fmla="*/ 10561656 w 10562072"/>
              <a:gd name="connsiteY1-1506" fmla="*/ 0 h 887696"/>
              <a:gd name="connsiteX2-1507" fmla="*/ 10561157 w 10562072"/>
              <a:gd name="connsiteY2-1508" fmla="*/ 90892 h 887696"/>
              <a:gd name="connsiteX3-1509" fmla="*/ 2317558 w 10562072"/>
              <a:gd name="connsiteY3-1510" fmla="*/ 89040 h 887696"/>
              <a:gd name="connsiteX4-1511" fmla="*/ 1180889 w 10562072"/>
              <a:gd name="connsiteY4-1512" fmla="*/ 887696 h 887696"/>
              <a:gd name="connsiteX5-1513" fmla="*/ 0 w 10562072"/>
              <a:gd name="connsiteY5-1514" fmla="*/ 103593 h 887696"/>
              <a:gd name="connsiteX6-1515" fmla="*/ 1331 w 10562072"/>
              <a:gd name="connsiteY6-1516" fmla="*/ 2791 h 887696"/>
              <a:gd name="connsiteX0-1517" fmla="*/ 0 w 10568342"/>
              <a:gd name="connsiteY0-1518" fmla="*/ 0 h 2916892"/>
              <a:gd name="connsiteX1-1519" fmla="*/ 10567926 w 10568342"/>
              <a:gd name="connsiteY1-1520" fmla="*/ 2029196 h 2916892"/>
              <a:gd name="connsiteX2-1521" fmla="*/ 10567427 w 10568342"/>
              <a:gd name="connsiteY2-1522" fmla="*/ 2120088 h 2916892"/>
              <a:gd name="connsiteX3-1523" fmla="*/ 2323828 w 10568342"/>
              <a:gd name="connsiteY3-1524" fmla="*/ 2118236 h 2916892"/>
              <a:gd name="connsiteX4-1525" fmla="*/ 1187159 w 10568342"/>
              <a:gd name="connsiteY4-1526" fmla="*/ 2916892 h 2916892"/>
              <a:gd name="connsiteX5-1527" fmla="*/ 6270 w 10568342"/>
              <a:gd name="connsiteY5-1528" fmla="*/ 2132789 h 2916892"/>
              <a:gd name="connsiteX6-1529" fmla="*/ 0 w 10568342"/>
              <a:gd name="connsiteY6-1530" fmla="*/ 0 h 2916892"/>
              <a:gd name="connsiteX0-1531" fmla="*/ 0 w 10575943"/>
              <a:gd name="connsiteY0-1532" fmla="*/ 0 h 2955377"/>
              <a:gd name="connsiteX1-1533" fmla="*/ 10575527 w 10575943"/>
              <a:gd name="connsiteY1-1534" fmla="*/ 2067681 h 2955377"/>
              <a:gd name="connsiteX2-1535" fmla="*/ 10575028 w 10575943"/>
              <a:gd name="connsiteY2-1536" fmla="*/ 2158573 h 2955377"/>
              <a:gd name="connsiteX3-1537" fmla="*/ 2331429 w 10575943"/>
              <a:gd name="connsiteY3-1538" fmla="*/ 2156721 h 2955377"/>
              <a:gd name="connsiteX4-1539" fmla="*/ 1194760 w 10575943"/>
              <a:gd name="connsiteY4-1540" fmla="*/ 2955377 h 2955377"/>
              <a:gd name="connsiteX5-1541" fmla="*/ 13871 w 10575943"/>
              <a:gd name="connsiteY5-1542" fmla="*/ 2171274 h 2955377"/>
              <a:gd name="connsiteX6-1543" fmla="*/ 0 w 10575943"/>
              <a:gd name="connsiteY6-1544" fmla="*/ 0 h 2955377"/>
              <a:gd name="connsiteX0-1545" fmla="*/ 267371 w 10562072"/>
              <a:gd name="connsiteY0-1546" fmla="*/ 0 h 2685985"/>
              <a:gd name="connsiteX1-1547" fmla="*/ 10561656 w 10562072"/>
              <a:gd name="connsiteY1-1548" fmla="*/ 1798289 h 2685985"/>
              <a:gd name="connsiteX2-1549" fmla="*/ 10561157 w 10562072"/>
              <a:gd name="connsiteY2-1550" fmla="*/ 1889181 h 2685985"/>
              <a:gd name="connsiteX3-1551" fmla="*/ 2317558 w 10562072"/>
              <a:gd name="connsiteY3-1552" fmla="*/ 1887329 h 2685985"/>
              <a:gd name="connsiteX4-1553" fmla="*/ 1180889 w 10562072"/>
              <a:gd name="connsiteY4-1554" fmla="*/ 2685985 h 2685985"/>
              <a:gd name="connsiteX5-1555" fmla="*/ 0 w 10562072"/>
              <a:gd name="connsiteY5-1556" fmla="*/ 1901882 h 2685985"/>
              <a:gd name="connsiteX6-1557" fmla="*/ 267371 w 10562072"/>
              <a:gd name="connsiteY6-1558" fmla="*/ 0 h 2685985"/>
              <a:gd name="connsiteX0-1559" fmla="*/ 1331 w 10562072"/>
              <a:gd name="connsiteY0-1560" fmla="*/ 0 h 2955377"/>
              <a:gd name="connsiteX1-1561" fmla="*/ 10561656 w 10562072"/>
              <a:gd name="connsiteY1-1562" fmla="*/ 2067681 h 2955377"/>
              <a:gd name="connsiteX2-1563" fmla="*/ 10561157 w 10562072"/>
              <a:gd name="connsiteY2-1564" fmla="*/ 2158573 h 2955377"/>
              <a:gd name="connsiteX3-1565" fmla="*/ 2317558 w 10562072"/>
              <a:gd name="connsiteY3-1566" fmla="*/ 2156721 h 2955377"/>
              <a:gd name="connsiteX4-1567" fmla="*/ 1180889 w 10562072"/>
              <a:gd name="connsiteY4-1568" fmla="*/ 2955377 h 2955377"/>
              <a:gd name="connsiteX5-1569" fmla="*/ 0 w 10562072"/>
              <a:gd name="connsiteY5-1570" fmla="*/ 2171274 h 2955377"/>
              <a:gd name="connsiteX6-1571" fmla="*/ 1331 w 10562072"/>
              <a:gd name="connsiteY6-1572" fmla="*/ 0 h 2955377"/>
              <a:gd name="connsiteX0-1573" fmla="*/ 1331 w 10562072"/>
              <a:gd name="connsiteY0-1574" fmla="*/ 2791 h 2958168"/>
              <a:gd name="connsiteX1-1575" fmla="*/ 10561655 w 10562072"/>
              <a:gd name="connsiteY1-1576" fmla="*/ 0 h 2958168"/>
              <a:gd name="connsiteX2-1577" fmla="*/ 10561157 w 10562072"/>
              <a:gd name="connsiteY2-1578" fmla="*/ 2161364 h 2958168"/>
              <a:gd name="connsiteX3-1579" fmla="*/ 2317558 w 10562072"/>
              <a:gd name="connsiteY3-1580" fmla="*/ 2159512 h 2958168"/>
              <a:gd name="connsiteX4-1581" fmla="*/ 1180889 w 10562072"/>
              <a:gd name="connsiteY4-1582" fmla="*/ 2958168 h 2958168"/>
              <a:gd name="connsiteX5-1583" fmla="*/ 0 w 10562072"/>
              <a:gd name="connsiteY5-1584" fmla="*/ 2174065 h 2958168"/>
              <a:gd name="connsiteX6-1585" fmla="*/ 1331 w 10562072"/>
              <a:gd name="connsiteY6-1586" fmla="*/ 2791 h 2958168"/>
              <a:gd name="connsiteX0-1587" fmla="*/ 1331 w 10562072"/>
              <a:gd name="connsiteY0-1588" fmla="*/ 2791 h 2958168"/>
              <a:gd name="connsiteX1-1589" fmla="*/ 10561655 w 10562072"/>
              <a:gd name="connsiteY1-1590" fmla="*/ 0 h 2958168"/>
              <a:gd name="connsiteX2-1591" fmla="*/ 10561157 w 10562072"/>
              <a:gd name="connsiteY2-1592" fmla="*/ 2161364 h 2958168"/>
              <a:gd name="connsiteX3-1593" fmla="*/ 9288594 w 10562072"/>
              <a:gd name="connsiteY3-1594" fmla="*/ 2153103 h 2958168"/>
              <a:gd name="connsiteX4-1595" fmla="*/ 2317558 w 10562072"/>
              <a:gd name="connsiteY4-1596" fmla="*/ 2159512 h 2958168"/>
              <a:gd name="connsiteX5-1597" fmla="*/ 1180889 w 10562072"/>
              <a:gd name="connsiteY5-1598" fmla="*/ 2958168 h 2958168"/>
              <a:gd name="connsiteX6-1599" fmla="*/ 0 w 10562072"/>
              <a:gd name="connsiteY6-1600" fmla="*/ 2174065 h 2958168"/>
              <a:gd name="connsiteX7-1601" fmla="*/ 1331 w 10562072"/>
              <a:gd name="connsiteY7-1602" fmla="*/ 2791 h 2958168"/>
              <a:gd name="connsiteX0-1603" fmla="*/ 1331 w 10561657"/>
              <a:gd name="connsiteY0-1604" fmla="*/ 2791 h 2958168"/>
              <a:gd name="connsiteX1-1605" fmla="*/ 10561655 w 10561657"/>
              <a:gd name="connsiteY1-1606" fmla="*/ 0 h 2958168"/>
              <a:gd name="connsiteX2-1607" fmla="*/ 10469943 w 10561657"/>
              <a:gd name="connsiteY2-1608" fmla="*/ 668161 h 2958168"/>
              <a:gd name="connsiteX3-1609" fmla="*/ 9288594 w 10561657"/>
              <a:gd name="connsiteY3-1610" fmla="*/ 2153103 h 2958168"/>
              <a:gd name="connsiteX4-1611" fmla="*/ 2317558 w 10561657"/>
              <a:gd name="connsiteY4-1612" fmla="*/ 2159512 h 2958168"/>
              <a:gd name="connsiteX5-1613" fmla="*/ 1180889 w 10561657"/>
              <a:gd name="connsiteY5-1614" fmla="*/ 2958168 h 2958168"/>
              <a:gd name="connsiteX6-1615" fmla="*/ 0 w 10561657"/>
              <a:gd name="connsiteY6-1616" fmla="*/ 2174065 h 2958168"/>
              <a:gd name="connsiteX7-1617" fmla="*/ 1331 w 10561657"/>
              <a:gd name="connsiteY7-1618" fmla="*/ 2791 h 2958168"/>
              <a:gd name="connsiteX0-1619" fmla="*/ 1331 w 10562072"/>
              <a:gd name="connsiteY0-1620" fmla="*/ 2791 h 2958168"/>
              <a:gd name="connsiteX1-1621" fmla="*/ 10561655 w 10562072"/>
              <a:gd name="connsiteY1-1622" fmla="*/ 0 h 2958168"/>
              <a:gd name="connsiteX2-1623" fmla="*/ 10561157 w 10562072"/>
              <a:gd name="connsiteY2-1624" fmla="*/ 1468641 h 2958168"/>
              <a:gd name="connsiteX3-1625" fmla="*/ 9288594 w 10562072"/>
              <a:gd name="connsiteY3-1626" fmla="*/ 2153103 h 2958168"/>
              <a:gd name="connsiteX4-1627" fmla="*/ 2317558 w 10562072"/>
              <a:gd name="connsiteY4-1628" fmla="*/ 2159512 h 2958168"/>
              <a:gd name="connsiteX5-1629" fmla="*/ 1180889 w 10562072"/>
              <a:gd name="connsiteY5-1630" fmla="*/ 2958168 h 2958168"/>
              <a:gd name="connsiteX6-1631" fmla="*/ 0 w 10562072"/>
              <a:gd name="connsiteY6-1632" fmla="*/ 2174065 h 2958168"/>
              <a:gd name="connsiteX7-1633" fmla="*/ 1331 w 10562072"/>
              <a:gd name="connsiteY7-1634" fmla="*/ 2791 h 2958168"/>
              <a:gd name="connsiteX0-1635" fmla="*/ 1331 w 10561655"/>
              <a:gd name="connsiteY0-1636" fmla="*/ 2791 h 2958168"/>
              <a:gd name="connsiteX1-1637" fmla="*/ 10561655 w 10561655"/>
              <a:gd name="connsiteY1-1638" fmla="*/ 0 h 2958168"/>
              <a:gd name="connsiteX2-1639" fmla="*/ 10196302 w 10561655"/>
              <a:gd name="connsiteY2-1640" fmla="*/ 1183855 h 2958168"/>
              <a:gd name="connsiteX3-1641" fmla="*/ 9288594 w 10561655"/>
              <a:gd name="connsiteY3-1642" fmla="*/ 2153103 h 2958168"/>
              <a:gd name="connsiteX4-1643" fmla="*/ 2317558 w 10561655"/>
              <a:gd name="connsiteY4-1644" fmla="*/ 2159512 h 2958168"/>
              <a:gd name="connsiteX5-1645" fmla="*/ 1180889 w 10561655"/>
              <a:gd name="connsiteY5-1646" fmla="*/ 2958168 h 2958168"/>
              <a:gd name="connsiteX6-1647" fmla="*/ 0 w 10561655"/>
              <a:gd name="connsiteY6-1648" fmla="*/ 2174065 h 2958168"/>
              <a:gd name="connsiteX7-1649" fmla="*/ 1331 w 10561655"/>
              <a:gd name="connsiteY7-1650" fmla="*/ 2791 h 2958168"/>
              <a:gd name="connsiteX0-1651" fmla="*/ 1331 w 10562072"/>
              <a:gd name="connsiteY0-1652" fmla="*/ 2791 h 2958168"/>
              <a:gd name="connsiteX1-1653" fmla="*/ 10561655 w 10562072"/>
              <a:gd name="connsiteY1-1654" fmla="*/ 0 h 2958168"/>
              <a:gd name="connsiteX2-1655" fmla="*/ 10561157 w 10562072"/>
              <a:gd name="connsiteY2-1656" fmla="*/ 1476338 h 2958168"/>
              <a:gd name="connsiteX3-1657" fmla="*/ 9288594 w 10562072"/>
              <a:gd name="connsiteY3-1658" fmla="*/ 2153103 h 2958168"/>
              <a:gd name="connsiteX4-1659" fmla="*/ 2317558 w 10562072"/>
              <a:gd name="connsiteY4-1660" fmla="*/ 2159512 h 2958168"/>
              <a:gd name="connsiteX5-1661" fmla="*/ 1180889 w 10562072"/>
              <a:gd name="connsiteY5-1662" fmla="*/ 2958168 h 2958168"/>
              <a:gd name="connsiteX6-1663" fmla="*/ 0 w 10562072"/>
              <a:gd name="connsiteY6-1664" fmla="*/ 2174065 h 2958168"/>
              <a:gd name="connsiteX7-1665" fmla="*/ 1331 w 10562072"/>
              <a:gd name="connsiteY7-1666" fmla="*/ 2791 h 2958168"/>
              <a:gd name="connsiteX0-1667" fmla="*/ 1331 w 10562072"/>
              <a:gd name="connsiteY0-1668" fmla="*/ 2791 h 2958168"/>
              <a:gd name="connsiteX1-1669" fmla="*/ 10561655 w 10562072"/>
              <a:gd name="connsiteY1-1670" fmla="*/ 0 h 2958168"/>
              <a:gd name="connsiteX2-1671" fmla="*/ 10561157 w 10562072"/>
              <a:gd name="connsiteY2-1672" fmla="*/ 1476338 h 2958168"/>
              <a:gd name="connsiteX3-1673" fmla="*/ 9288594 w 10562072"/>
              <a:gd name="connsiteY3-1674" fmla="*/ 2153103 h 2958168"/>
              <a:gd name="connsiteX4-1675" fmla="*/ 2317558 w 10562072"/>
              <a:gd name="connsiteY4-1676" fmla="*/ 2159512 h 2958168"/>
              <a:gd name="connsiteX5-1677" fmla="*/ 1180889 w 10562072"/>
              <a:gd name="connsiteY5-1678" fmla="*/ 2958168 h 2958168"/>
              <a:gd name="connsiteX6-1679" fmla="*/ 0 w 10562072"/>
              <a:gd name="connsiteY6-1680" fmla="*/ 2174065 h 2958168"/>
              <a:gd name="connsiteX7-1681" fmla="*/ 1331 w 10562072"/>
              <a:gd name="connsiteY7-1682" fmla="*/ 2791 h 2958168"/>
              <a:gd name="connsiteX0-1683" fmla="*/ 1331 w 10562072"/>
              <a:gd name="connsiteY0-1684" fmla="*/ 2791 h 2958168"/>
              <a:gd name="connsiteX1-1685" fmla="*/ 10561655 w 10562072"/>
              <a:gd name="connsiteY1-1686" fmla="*/ 0 h 2958168"/>
              <a:gd name="connsiteX2-1687" fmla="*/ 10561157 w 10562072"/>
              <a:gd name="connsiteY2-1688" fmla="*/ 1476338 h 2958168"/>
              <a:gd name="connsiteX3-1689" fmla="*/ 9288594 w 10562072"/>
              <a:gd name="connsiteY3-1690" fmla="*/ 2153103 h 2958168"/>
              <a:gd name="connsiteX4-1691" fmla="*/ 2317558 w 10562072"/>
              <a:gd name="connsiteY4-1692" fmla="*/ 2159512 h 2958168"/>
              <a:gd name="connsiteX5-1693" fmla="*/ 1180889 w 10562072"/>
              <a:gd name="connsiteY5-1694" fmla="*/ 2958168 h 2958168"/>
              <a:gd name="connsiteX6-1695" fmla="*/ 0 w 10562072"/>
              <a:gd name="connsiteY6-1696" fmla="*/ 2174065 h 2958168"/>
              <a:gd name="connsiteX7-1697" fmla="*/ 1331 w 10562072"/>
              <a:gd name="connsiteY7-1698" fmla="*/ 2791 h 295816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 ang="0">
                <a:pos x="connsiteX7-135" y="connsiteY7-136"/>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ln>
          <a:effectLst>
            <a:outerShdw blurRad="41275" dist="38100" dir="5400000" algn="t" rotWithShape="0">
              <a:schemeClr val="bg1">
                <a:lumMod val="65000"/>
                <a:alpha val="25000"/>
              </a:schemeClr>
            </a:outerShdw>
          </a:effectLst>
        </p:spPr>
        <p:txBody>
          <a:bodyPr lIns="33059" tIns="42976" rIns="33059" bIns="42976"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a:endParaRPr>
          </a:p>
        </p:txBody>
      </p:sp>
      <p:sp>
        <p:nvSpPr>
          <p:cNvPr id="8" name="Rectangle 7"/>
          <p:cNvSpPr/>
          <p:nvPr userDrawn="1">
            <p:custDataLst>
              <p:tags r:id="rId7"/>
            </p:custDataLst>
          </p:nvPr>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3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 name="Title 1"/>
          <p:cNvSpPr>
            <a:spLocks noGrp="1"/>
          </p:cNvSpPr>
          <p:nvPr>
            <p:ph type="title"/>
          </p:nvPr>
        </p:nvSpPr>
        <p:spPr>
          <a:xfrm>
            <a:off x="5527079" y="1968817"/>
            <a:ext cx="6664921" cy="2414915"/>
          </a:xfrm>
        </p:spPr>
        <p:txBody>
          <a:bodyPr lIns="36000" tIns="36000" rIns="360000" bIns="36000" rtlCol="0">
            <a:noAutofit/>
          </a:bodyPr>
          <a:lstStyle>
            <a:lvl1pPr algn="r" defTabSz="99568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a:t>Click to edit Master title style</a:t>
            </a:r>
            <a:endParaRPr lang="en-US" dirty="0"/>
          </a:p>
        </p:txBody>
      </p:sp>
      <p:sp>
        <p:nvSpPr>
          <p:cNvPr id="17" name="Text Placeholder 8"/>
          <p:cNvSpPr>
            <a:spLocks noGrp="1"/>
          </p:cNvSpPr>
          <p:nvPr>
            <p:ph type="body" sz="quarter" idx="10"/>
          </p:nvPr>
        </p:nvSpPr>
        <p:spPr>
          <a:xfrm>
            <a:off x="6568558" y="4609876"/>
            <a:ext cx="5623442" cy="1806302"/>
          </a:xfrm>
        </p:spPr>
        <p:txBody>
          <a:bodyPr lIns="36000" tIns="36000" rIns="360000" bIns="36000" rtlCol="0">
            <a:noAutofit/>
          </a:bodyPr>
          <a:lstStyle>
            <a:lvl1pPr marL="0" indent="0" algn="r" defTabSz="99568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a:t>Click to edit Master text styles</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a:xfrm>
            <a:off x="838200" y="6356350"/>
            <a:ext cx="2743200" cy="365125"/>
          </a:xfrm>
        </p:spPr>
        <p:txBody>
          <a:bodyPr/>
          <a:lstStyle/>
          <a:p>
            <a:fld id="{7916D1FB-58A8-4772-87A9-5BC7F02693E8}" type="datetimeFigureOut">
              <a:rPr lang="en-US" smtClean="0"/>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Date Placeholder 3"/>
          <p:cNvSpPr>
            <a:spLocks noGrp="1"/>
          </p:cNvSpPr>
          <p:nvPr>
            <p:ph type="dt" sz="half" idx="10"/>
          </p:nvPr>
        </p:nvSpPr>
        <p:spPr/>
        <p:txBody>
          <a:bodyPr/>
          <a:lstStyle/>
          <a:p>
            <a:fld id="{73C55A3C-5767-4844-A0A3-83778C2E5409}"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763439"/>
            <a:ext cx="9590550" cy="133349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CAE507A8-A5CF-4D38-AB86-7EDDA87A85D4}"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126187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76450"/>
            <a:ext cx="4856841" cy="3622671"/>
          </a:xfrm>
        </p:spPr>
        <p:txBody>
          <a:bodyPr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Content Placeholder 3"/>
          <p:cNvSpPr>
            <a:spLocks noGrp="1"/>
          </p:cNvSpPr>
          <p:nvPr>
            <p:ph sz="half" idx="2"/>
          </p:nvPr>
        </p:nvSpPr>
        <p:spPr>
          <a:xfrm>
            <a:off x="6410716" y="2076451"/>
            <a:ext cx="4856841" cy="3622672"/>
          </a:xfrm>
        </p:spPr>
        <p:txBody>
          <a:bodyPr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Date Placeholder 4"/>
          <p:cNvSpPr>
            <a:spLocks noGrp="1"/>
          </p:cNvSpPr>
          <p:nvPr>
            <p:ph type="dt" sz="half" idx="10"/>
          </p:nvPr>
        </p:nvSpPr>
        <p:spPr/>
        <p:txBody>
          <a:bodyPr/>
          <a:lstStyle/>
          <a:p>
            <a:fld id="{BDFCD27C-8599-43EF-BA1D-14DDC1946E06}"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29200" cy="409995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357" y="1734506"/>
            <a:ext cx="5029200" cy="4099959"/>
          </a:xfrm>
          <a:prstGeom prst="rect">
            <a:avLst/>
          </a:prstGeom>
        </p:spPr>
      </p:pic>
      <p:sp>
        <p:nvSpPr>
          <p:cNvPr id="2" name="Title 1"/>
          <p:cNvSpPr>
            <a:spLocks noGrp="1"/>
          </p:cNvSpPr>
          <p:nvPr>
            <p:ph type="title"/>
          </p:nvPr>
        </p:nvSpPr>
        <p:spPr>
          <a:xfrm>
            <a:off x="913795" y="609600"/>
            <a:ext cx="10353762" cy="9704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46013" y="1855153"/>
            <a:ext cx="4764764" cy="69249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1046013" y="2702103"/>
            <a:ext cx="4764764"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Text Placeholder 4"/>
          <p:cNvSpPr>
            <a:spLocks noGrp="1"/>
          </p:cNvSpPr>
          <p:nvPr>
            <p:ph type="body" sz="quarter" idx="3"/>
          </p:nvPr>
        </p:nvSpPr>
        <p:spPr>
          <a:xfrm>
            <a:off x="6363166" y="1855152"/>
            <a:ext cx="4779582" cy="692495"/>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363167" y="2702103"/>
            <a:ext cx="4779581"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7" name="Date Placeholder 6"/>
          <p:cNvSpPr>
            <a:spLocks noGrp="1"/>
          </p:cNvSpPr>
          <p:nvPr>
            <p:ph type="dt" sz="half" idx="10"/>
          </p:nvPr>
        </p:nvSpPr>
        <p:spPr/>
        <p:txBody>
          <a:bodyPr/>
          <a:lstStyle/>
          <a:p>
            <a:fld id="{49343D99-809A-49C0-96E5-4250D0B498EE}" type="datetime1">
              <a:rPr lang="en-US" smtClean="0"/>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43DE9B-B678-4EFB-BB7D-A4370204A0B0}"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8812DA-F765-4142-A6A3-A8ED7235E082}" type="datetime1">
              <a:rPr lang="en-US" smtClean="0"/>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8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080001"/>
          </a:xfrm>
        </p:spPr>
        <p:txBody>
          <a:bodyPr>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3"/>
          <p:cNvSpPr>
            <a:spLocks noGrp="1"/>
          </p:cNvSpPr>
          <p:nvPr>
            <p:ph type="body" sz="half" idx="2"/>
          </p:nvPr>
        </p:nvSpPr>
        <p:spPr>
          <a:xfrm>
            <a:off x="913795" y="2673351"/>
            <a:ext cx="3706889" cy="301625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3E0277FD-7DE6-41D4-930D-AC99F5AFE54E}"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763701"/>
            <a:ext cx="5707899" cy="1675559"/>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73698" y="2679699"/>
            <a:ext cx="4588094" cy="3135695"/>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9EA15526-7079-4B7B-987C-1B5FAE11A0FF}" type="datetime1">
              <a:rPr lang="en-US" smtClean="0"/>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15.xml"/><Relationship Id="rId8" Type="http://schemas.openxmlformats.org/officeDocument/2006/relationships/tags" Target="../tags/tag14.xml"/><Relationship Id="rId7" Type="http://schemas.openxmlformats.org/officeDocument/2006/relationships/image" Target="../media/image6.emf"/><Relationship Id="rId6" Type="http://schemas.openxmlformats.org/officeDocument/2006/relationships/oleObject" Target="../embeddings/oleObject6.bin"/><Relationship Id="rId5" Type="http://schemas.openxmlformats.org/officeDocument/2006/relationships/tags" Target="../tags/tag13.xml"/><Relationship Id="rId4" Type="http://schemas.openxmlformats.org/officeDocument/2006/relationships/slideLayout" Target="../slideLayouts/slideLayout19.xml"/><Relationship Id="rId3" Type="http://schemas.openxmlformats.org/officeDocument/2006/relationships/slideLayout" Target="../slideLayouts/slideLayout18.xml"/><Relationship Id="rId2" Type="http://schemas.openxmlformats.org/officeDocument/2006/relationships/slideLayout" Target="../slideLayouts/slideLayout17.xml"/><Relationship Id="rId17" Type="http://schemas.openxmlformats.org/officeDocument/2006/relationships/theme" Target="../theme/theme2.xml"/><Relationship Id="rId16" Type="http://schemas.openxmlformats.org/officeDocument/2006/relationships/vmlDrawing" Target="../drawings/vmlDrawing4.vml"/><Relationship Id="rId15" Type="http://schemas.openxmlformats.org/officeDocument/2006/relationships/image" Target="../media/image9.jpeg"/><Relationship Id="rId14" Type="http://schemas.openxmlformats.org/officeDocument/2006/relationships/tags" Target="../tags/tag20.xml"/><Relationship Id="rId13" Type="http://schemas.openxmlformats.org/officeDocument/2006/relationships/tags" Target="../tags/tag19.xml"/><Relationship Id="rId12" Type="http://schemas.openxmlformats.org/officeDocument/2006/relationships/tags" Target="../tags/tag18.xml"/><Relationship Id="rId11" Type="http://schemas.openxmlformats.org/officeDocument/2006/relationships/tags" Target="../tags/tag17.xml"/><Relationship Id="rId10" Type="http://schemas.openxmlformats.org/officeDocument/2006/relationships/tags" Target="../tags/tag16.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1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ftr="0" dt="0"/>
  <p:txStyles>
    <p:titleStyle>
      <a:lvl1pPr algn="ctr" defTabSz="457200" rtl="0" eaLnBrk="1" latinLnBrk="0" hangingPunct="1">
        <a:lnSpc>
          <a:spcPct val="90000"/>
        </a:lnSpc>
        <a:spcBef>
          <a:spcPct val="0"/>
        </a:spcBef>
        <a:buNone/>
        <a:defRPr sz="4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panose="020B0603020202020204"/>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70" algn="l" defTabSz="457200" rtl="0" eaLnBrk="1" latinLnBrk="0" hangingPunct="1">
        <a:lnSpc>
          <a:spcPct val="110000"/>
        </a:lnSpc>
        <a:spcBef>
          <a:spcPct val="20000"/>
        </a:spcBef>
        <a:spcAft>
          <a:spcPts val="600"/>
        </a:spcAft>
        <a:buClr>
          <a:schemeClr val="tx2"/>
        </a:buClr>
        <a:buSzPct val="70000"/>
        <a:buFont typeface="Wingdings 2" panose="05020102010507070707" charset="2"/>
        <a:buChar char=""/>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90" indent="-269875" algn="l" defTabSz="457200" rtl="0" eaLnBrk="1" latinLnBrk="0" hangingPunct="1">
        <a:spcBef>
          <a:spcPct val="20000"/>
        </a:spcBef>
        <a:spcAft>
          <a:spcPts val="600"/>
        </a:spcAft>
        <a:buClr>
          <a:schemeClr val="tx2"/>
        </a:buClr>
        <a:buSzPct val="70000"/>
        <a:buFont typeface="Wingdings 2" panose="05020102010507070707" charset="2"/>
        <a:buChar char=""/>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160" indent="-215900" algn="l" defTabSz="457200" rtl="0" eaLnBrk="1" latinLnBrk="0" hangingPunct="1">
        <a:spcBef>
          <a:spcPct val="20000"/>
        </a:spcBef>
        <a:spcAft>
          <a:spcPts val="600"/>
        </a:spcAft>
        <a:buClr>
          <a:schemeClr val="tx2"/>
        </a:buClr>
        <a:buSzPct val="70000"/>
        <a:buFont typeface="Wingdings 2" panose="05020102010507070707"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205"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860"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855"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57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9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4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5"/>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70" name="think-cell Slide" r:id="rId6" imgW="12700" imgH="12700" progId="">
                  <p:embed/>
                </p:oleObj>
              </mc:Choice>
              <mc:Fallback>
                <p:oleObj name="think-cell Slide" r:id="rId6" imgW="12700" imgH="1270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8"/>
            </p:custDataLst>
          </p:nvPr>
        </p:nvSpPr>
        <p:spPr bwMode="auto">
          <a:xfrm>
            <a:off x="0" y="1"/>
            <a:ext cx="12192000" cy="1001713"/>
          </a:xfrm>
          <a:prstGeom prst="rect">
            <a:avLst/>
          </a:prstGeom>
          <a:noFill/>
          <a:ln w="9525">
            <a:noFill/>
            <a:miter lim="800000"/>
          </a:ln>
        </p:spPr>
        <p:txBody>
          <a:bodyPr vert="horz" wrap="square" lIns="297529" tIns="33059" rIns="165294" bIns="33059" numCol="1" anchor="ctr" anchorCtr="0" compatLnSpc="1"/>
          <a:lstStyle/>
          <a:p>
            <a:pPr lvl="0"/>
            <a:r>
              <a:rPr lang="fr-FR"/>
              <a:t>Cliquez pour modifier le style du titre</a:t>
            </a:r>
            <a:endParaRPr lang="en-US"/>
          </a:p>
        </p:txBody>
      </p:sp>
      <p:sp>
        <p:nvSpPr>
          <p:cNvPr id="1029" name="Text Placeholder 2"/>
          <p:cNvSpPr>
            <a:spLocks noGrp="1"/>
          </p:cNvSpPr>
          <p:nvPr>
            <p:ph type="body" idx="1"/>
            <p:custDataLst>
              <p:tags r:id="rId9"/>
            </p:custDataLst>
          </p:nvPr>
        </p:nvSpPr>
        <p:spPr bwMode="auto">
          <a:xfrm>
            <a:off x="398585" y="1501775"/>
            <a:ext cx="11615616" cy="4637088"/>
          </a:xfrm>
          <a:prstGeom prst="rect">
            <a:avLst/>
          </a:prstGeom>
          <a:noFill/>
          <a:ln w="9525">
            <a:noFill/>
            <a:miter lim="800000"/>
          </a:ln>
        </p:spPr>
        <p:txBody>
          <a:bodyPr vert="horz" wrap="square" lIns="108000" tIns="72000" rIns="72000" bIns="72000" numCol="1" anchor="t" anchorCtr="0" compatLnSpc="1"/>
          <a:lstStyle/>
          <a:p>
            <a:pPr lvl="0"/>
            <a:r>
              <a:rPr lang="en-US"/>
              <a:t>Click to edit Master text style</a:t>
            </a:r>
            <a:endParaRPr lang="en-US"/>
          </a:p>
          <a:p>
            <a:pPr lvl="1"/>
            <a:r>
              <a:rPr lang="en-US"/>
              <a:t>Text style level 2</a:t>
            </a:r>
            <a:endParaRPr lang="en-US"/>
          </a:p>
          <a:p>
            <a:pPr lvl="2"/>
            <a:r>
              <a:rPr lang="en-US"/>
              <a:t>Text style level 3</a:t>
            </a:r>
            <a:endParaRPr lang="en-US"/>
          </a:p>
          <a:p>
            <a:pPr lvl="3"/>
            <a:r>
              <a:rPr lang="en-US"/>
              <a:t>Text style level 4</a:t>
            </a:r>
            <a:endParaRPr lang="en-US"/>
          </a:p>
        </p:txBody>
      </p:sp>
      <p:sp>
        <p:nvSpPr>
          <p:cNvPr id="11" name="TextBox 10"/>
          <p:cNvSpPr txBox="1"/>
          <p:nvPr>
            <p:custDataLst>
              <p:tags r:id="rId10"/>
            </p:custDataLst>
          </p:nvPr>
        </p:nvSpPr>
        <p:spPr>
          <a:xfrm>
            <a:off x="11787935" y="6661264"/>
            <a:ext cx="110608" cy="107722"/>
          </a:xfrm>
          <a:prstGeom prst="rect">
            <a:avLst/>
          </a:prstGeom>
          <a:noFill/>
        </p:spPr>
        <p:txBody>
          <a:bodyPr wrap="none" lIns="0" tIns="0" rIns="0" bIns="0" anchor="ctr">
            <a:spAutoFit/>
          </a:bodyPr>
          <a:lstStyle/>
          <a:p>
            <a:pPr algn="ctr" defTabSz="957580" fontAlgn="auto">
              <a:spcBef>
                <a:spcPts val="0"/>
              </a:spcBef>
              <a:spcAft>
                <a:spcPts val="0"/>
              </a:spcAft>
              <a:defRPr/>
            </a:pPr>
            <a:fld id="{F0564213-710B-4D23-9FE5-BACC8F3A0E11}" type="slidenum">
              <a:rPr lang="en-US" sz="700">
                <a:solidFill>
                  <a:schemeClr val="tx2"/>
                </a:solidFill>
                <a:latin typeface="+mn-lt"/>
                <a:cs typeface="+mn-cs"/>
              </a:rPr>
            </a:fld>
            <a:endParaRPr lang="en-US" sz="700" dirty="0">
              <a:solidFill>
                <a:schemeClr val="tx2"/>
              </a:solidFill>
              <a:latin typeface="+mn-lt"/>
              <a:cs typeface="+mn-cs"/>
            </a:endParaRPr>
          </a:p>
        </p:txBody>
      </p:sp>
      <p:sp>
        <p:nvSpPr>
          <p:cNvPr id="9" name="Freeform 4"/>
          <p:cNvSpPr/>
          <p:nvPr>
            <p:custDataLst>
              <p:tags r:id="rId11"/>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defTabSz="957580" fontAlgn="auto">
              <a:spcBef>
                <a:spcPts val="0"/>
              </a:spcBef>
              <a:spcAft>
                <a:spcPts val="0"/>
              </a:spcAft>
              <a:defRPr/>
            </a:pPr>
            <a:endParaRPr lang="fr-FR" sz="1800">
              <a:latin typeface="+mn-lt"/>
              <a:cs typeface="+mn-cs"/>
            </a:endParaRPr>
          </a:p>
        </p:txBody>
      </p:sp>
      <p:sp>
        <p:nvSpPr>
          <p:cNvPr id="12" name="Rectangle 11"/>
          <p:cNvSpPr>
            <a:spLocks noChangeArrowheads="1"/>
          </p:cNvSpPr>
          <p:nvPr>
            <p:custDataLst>
              <p:tags r:id="rId12"/>
            </p:custDataLst>
          </p:nvPr>
        </p:nvSpPr>
        <p:spPr bwMode="auto">
          <a:xfrm>
            <a:off x="8297985" y="6623050"/>
            <a:ext cx="3274646" cy="184150"/>
          </a:xfrm>
          <a:prstGeom prst="rect">
            <a:avLst/>
          </a:prstGeom>
          <a:noFill/>
          <a:ln w="19050">
            <a:noFill/>
            <a:miter lim="800000"/>
          </a:ln>
          <a:effectLst/>
        </p:spPr>
        <p:txBody>
          <a:bodyPr lIns="35997" tIns="35997" rIns="35997" bIns="35997" anchor="b"/>
          <a:lstStyle/>
          <a:p>
            <a:pPr algn="r" defTabSz="995680"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3. All Rights Reserved</a:t>
            </a:r>
            <a:endParaRPr lang="en-US" altLang="en-US" sz="600" dirty="0">
              <a:solidFill>
                <a:schemeClr val="tx2"/>
              </a:solidFill>
              <a:latin typeface="+mj-lt"/>
              <a:cs typeface="Helvetica Light"/>
            </a:endParaRPr>
          </a:p>
        </p:txBody>
      </p:sp>
      <p:sp>
        <p:nvSpPr>
          <p:cNvPr id="13" name="Rectangle 12"/>
          <p:cNvSpPr/>
          <p:nvPr>
            <p:custDataLst>
              <p:tags r:id="rId13"/>
            </p:custDataLst>
          </p:nvPr>
        </p:nvSpPr>
        <p:spPr>
          <a:xfrm>
            <a:off x="9216294" y="6427788"/>
            <a:ext cx="2356338" cy="195262"/>
          </a:xfrm>
          <a:prstGeom prst="rect">
            <a:avLst/>
          </a:prstGeom>
        </p:spPr>
        <p:txBody>
          <a:bodyPr wrap="none" lIns="35997" tIns="35997" rIns="35997" bIns="35997" anchor="b"/>
          <a:lstStyle/>
          <a:p>
            <a:pPr algn="r" defTabSz="957580" fontAlgn="auto">
              <a:spcBef>
                <a:spcPts val="0"/>
              </a:spcBef>
              <a:spcAft>
                <a:spcPts val="0"/>
              </a:spcAft>
              <a:defRPr/>
            </a:pPr>
            <a:r>
              <a:rPr lang="en-US" sz="700" dirty="0">
                <a:solidFill>
                  <a:schemeClr val="tx2"/>
                </a:solidFill>
                <a:latin typeface="+mj-lt"/>
                <a:cs typeface="+mn-cs"/>
              </a:rPr>
              <a:t>Group Presentation | May 2013</a:t>
            </a:r>
            <a:endParaRPr lang="en-US" sz="700" dirty="0">
              <a:solidFill>
                <a:schemeClr val="tx2"/>
              </a:solidFill>
              <a:latin typeface="+mj-lt"/>
              <a:cs typeface="+mn-cs"/>
            </a:endParaRPr>
          </a:p>
        </p:txBody>
      </p:sp>
      <p:cxnSp>
        <p:nvCxnSpPr>
          <p:cNvPr id="15" name="Straight Connector 5"/>
          <p:cNvCxnSpPr/>
          <p:nvPr>
            <p:custDataLst>
              <p:tags r:id="rId14"/>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userDrawn="1"/>
        </p:nvPicPr>
        <p:blipFill>
          <a:blip r:embed="rId15" cstate="print"/>
          <a:srcRect/>
          <a:stretch>
            <a:fillRect/>
          </a:stretch>
        </p:blipFill>
        <p:spPr bwMode="auto">
          <a:xfrm>
            <a:off x="144585" y="6419850"/>
            <a:ext cx="1774092"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Lst>
  <p:txStyles>
    <p:titleStyle>
      <a:lvl1pPr algn="l" defTabSz="913130"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2pPr>
      <a:lvl3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3pPr>
      <a:lvl4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4pPr>
      <a:lvl5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5pPr>
      <a:lvl6pPr marL="457200" algn="l" defTabSz="913130" rtl="0" fontAlgn="base">
        <a:lnSpc>
          <a:spcPct val="85000"/>
        </a:lnSpc>
        <a:spcBef>
          <a:spcPct val="0"/>
        </a:spcBef>
        <a:spcAft>
          <a:spcPct val="0"/>
        </a:spcAft>
        <a:defRPr sz="3200">
          <a:solidFill>
            <a:schemeClr val="tx1"/>
          </a:solidFill>
          <a:latin typeface="Arial" panose="020B0604020202020204" pitchFamily="34" charset="0"/>
        </a:defRPr>
      </a:lvl6pPr>
      <a:lvl7pPr marL="914400" algn="l" defTabSz="913130" rtl="0" fontAlgn="base">
        <a:lnSpc>
          <a:spcPct val="85000"/>
        </a:lnSpc>
        <a:spcBef>
          <a:spcPct val="0"/>
        </a:spcBef>
        <a:spcAft>
          <a:spcPct val="0"/>
        </a:spcAft>
        <a:defRPr sz="3200">
          <a:solidFill>
            <a:schemeClr val="tx1"/>
          </a:solidFill>
          <a:latin typeface="Arial" panose="020B0604020202020204" pitchFamily="34" charset="0"/>
        </a:defRPr>
      </a:lvl7pPr>
      <a:lvl8pPr marL="1371600" algn="l" defTabSz="913130" rtl="0" fontAlgn="base">
        <a:lnSpc>
          <a:spcPct val="85000"/>
        </a:lnSpc>
        <a:spcBef>
          <a:spcPct val="0"/>
        </a:spcBef>
        <a:spcAft>
          <a:spcPct val="0"/>
        </a:spcAft>
        <a:defRPr sz="3200">
          <a:solidFill>
            <a:schemeClr val="tx1"/>
          </a:solidFill>
          <a:latin typeface="Arial" panose="020B0604020202020204" pitchFamily="34" charset="0"/>
        </a:defRPr>
      </a:lvl8pPr>
      <a:lvl9pPr marL="1828800" algn="l" defTabSz="913130" rtl="0" fontAlgn="base">
        <a:lnSpc>
          <a:spcPct val="85000"/>
        </a:lnSpc>
        <a:spcBef>
          <a:spcPct val="0"/>
        </a:spcBef>
        <a:spcAft>
          <a:spcPct val="0"/>
        </a:spcAft>
        <a:defRPr sz="3200">
          <a:solidFill>
            <a:schemeClr val="tx1"/>
          </a:solidFill>
          <a:latin typeface="Arial" panose="020B0604020202020204" pitchFamily="34" charset="0"/>
        </a:defRPr>
      </a:lvl9pPr>
    </p:titleStyle>
    <p:bodyStyle>
      <a:lvl1pPr marL="165100" indent="-165100" algn="l" defTabSz="913130" rtl="0" eaLnBrk="0" fontAlgn="base" hangingPunct="0">
        <a:lnSpc>
          <a:spcPct val="90000"/>
        </a:lnSpc>
        <a:spcBef>
          <a:spcPct val="0"/>
        </a:spcBef>
        <a:spcAft>
          <a:spcPts val="600"/>
        </a:spcAft>
        <a:buClr>
          <a:srgbClr val="0098CC"/>
        </a:buClr>
        <a:buFont typeface="Wingdings" panose="05000000000000000000" pitchFamily="2" charset="2"/>
        <a:buChar char="§"/>
        <a:defRPr sz="2200" kern="1200">
          <a:solidFill>
            <a:srgbClr val="514A46"/>
          </a:solidFill>
          <a:latin typeface="+mn-lt"/>
          <a:ea typeface="+mn-ea"/>
          <a:cs typeface="+mn-cs"/>
        </a:defRPr>
      </a:lvl1pPr>
      <a:lvl2pPr marL="355600" indent="-180975" algn="l" defTabSz="913130" rtl="0" eaLnBrk="0" fontAlgn="base" hangingPunct="0">
        <a:lnSpc>
          <a:spcPct val="90000"/>
        </a:lnSpc>
        <a:spcBef>
          <a:spcPct val="0"/>
        </a:spcBef>
        <a:spcAft>
          <a:spcPts val="600"/>
        </a:spcAft>
        <a:buClr>
          <a:srgbClr val="B70132"/>
        </a:buClr>
        <a:buFont typeface="Wingdings" panose="05000000000000000000" pitchFamily="2" charset="2"/>
        <a:buChar char="§"/>
        <a:defRPr kern="1200">
          <a:solidFill>
            <a:srgbClr val="514A46"/>
          </a:solidFill>
          <a:latin typeface="+mn-lt"/>
          <a:ea typeface="+mn-ea"/>
          <a:cs typeface="+mn-cs"/>
        </a:defRPr>
      </a:lvl2pPr>
      <a:lvl3pPr marL="536575" indent="-165100" algn="l" defTabSz="913130" rtl="0" eaLnBrk="0" fontAlgn="base" hangingPunct="0">
        <a:lnSpc>
          <a:spcPct val="90000"/>
        </a:lnSpc>
        <a:spcBef>
          <a:spcPct val="0"/>
        </a:spcBef>
        <a:spcAft>
          <a:spcPts val="600"/>
        </a:spcAft>
        <a:buClr>
          <a:schemeClr val="accent2"/>
        </a:buClr>
        <a:buFont typeface="Arial" panose="020B0604020202020204" pitchFamily="34" charset="0"/>
        <a:buChar char="•"/>
        <a:defRPr sz="1600" kern="1200">
          <a:solidFill>
            <a:srgbClr val="514A46"/>
          </a:solidFill>
          <a:latin typeface="+mn-lt"/>
          <a:ea typeface="+mn-ea"/>
          <a:cs typeface="+mn-cs"/>
        </a:defRPr>
      </a:lvl3pPr>
      <a:lvl4pPr marL="711200" indent="-165100" algn="l" defTabSz="913130" rtl="0" eaLnBrk="0" fontAlgn="base" hangingPunct="0">
        <a:lnSpc>
          <a:spcPct val="90000"/>
        </a:lnSpc>
        <a:spcBef>
          <a:spcPct val="0"/>
        </a:spcBef>
        <a:spcAft>
          <a:spcPts val="600"/>
        </a:spcAft>
        <a:buClr>
          <a:schemeClr val="bg2"/>
        </a:buClr>
        <a:buFont typeface="Arial" panose="020B0604020202020204" pitchFamily="34" charset="0"/>
        <a:buChar char="–"/>
        <a:defRPr sz="1400" kern="1200">
          <a:solidFill>
            <a:srgbClr val="514A46"/>
          </a:solidFill>
          <a:latin typeface="+mn-lt"/>
          <a:ea typeface="+mn-ea"/>
          <a:cs typeface="+mn-cs"/>
        </a:defRPr>
      </a:lvl4pPr>
      <a:lvl5pPr marL="1608455" indent="-192405" algn="l" defTabSz="913130" rtl="0" eaLnBrk="0" fontAlgn="base" hangingPunct="0">
        <a:spcBef>
          <a:spcPct val="0"/>
        </a:spcBef>
        <a:spcAft>
          <a:spcPct val="0"/>
        </a:spcAft>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10.jpeg"/><Relationship Id="rId1"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17.png"/><Relationship Id="rId1" Type="http://schemas.openxmlformats.org/officeDocument/2006/relationships/image" Target="../media/image1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17.xml"/><Relationship Id="rId2" Type="http://schemas.openxmlformats.org/officeDocument/2006/relationships/image" Target="../media/image12.png"/><Relationship Id="rId1"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13.png"/><Relationship Id="rId1" Type="http://schemas.openxmlformats.org/officeDocument/2006/relationships/chart" Target="../charts/char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image" Target="../media/image14.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1">
            <a:duotone>
              <a:schemeClr val="bg1">
                <a:shade val="80000"/>
                <a:lumMod val="80000"/>
              </a:schemeClr>
              <a:schemeClr val="bg1">
                <a:tint val="98000"/>
              </a:schemeClr>
            </a:duotone>
          </a:blip>
          <a:stretch>
            <a:fillRect/>
          </a:stretch>
        </a:blipFill>
        <a:effectLst/>
      </p:bgPr>
    </p:bg>
    <p:spTree>
      <p:nvGrpSpPr>
        <p:cNvPr id="1" name=""/>
        <p:cNvGrpSpPr/>
        <p:nvPr/>
      </p:nvGrpSpPr>
      <p:grpSpPr>
        <a:xfrm>
          <a:off x="0" y="0"/>
          <a:ext cx="0" cy="0"/>
          <a:chOff x="0" y="0"/>
          <a:chExt cx="0" cy="0"/>
        </a:xfrm>
      </p:grpSpPr>
      <p:pic>
        <p:nvPicPr>
          <p:cNvPr id="5" name="Picture 4" descr="COVID-19 vaccine vial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6670"/>
            <a:ext cx="12192000" cy="6830695"/>
          </a:xfrm>
          <a:prstGeom prst="rect">
            <a:avLst/>
          </a:prstGeom>
        </p:spPr>
      </p:pic>
      <p:sp useBgFill="1">
        <p:nvSpPr>
          <p:cNvPr id="96" name="Freeform 5"/>
          <p:cNvSpPr>
            <a:spLocks noGrp="1" noRot="1" noChangeAspect="1" noMove="1" noResize="1" noEditPoints="1" noAdjustHandles="1" noChangeArrowheads="1" noChangeShapeType="1" noTextEdit="1"/>
          </p:cNvSpPr>
          <p:nvPr/>
        </p:nvSpPr>
        <p:spPr bwMode="auto">
          <a:xfrm rot="5400000">
            <a:off x="6204585" y="-1127760"/>
            <a:ext cx="2172335" cy="9267825"/>
          </a:xfrm>
          <a:custGeom>
            <a:avLst/>
            <a:gdLst>
              <a:gd name="T0" fmla="*/ 1577 w 1601"/>
              <a:gd name="T1" fmla="*/ 0 h 696"/>
              <a:gd name="T2" fmla="*/ 833 w 1601"/>
              <a:gd name="T3" fmla="*/ 0 h 696"/>
              <a:gd name="T4" fmla="*/ 768 w 1601"/>
              <a:gd name="T5" fmla="*/ 0 h 696"/>
              <a:gd name="T6" fmla="*/ 24 w 1601"/>
              <a:gd name="T7" fmla="*/ 0 h 696"/>
              <a:gd name="T8" fmla="*/ 0 w 1601"/>
              <a:gd name="T9" fmla="*/ 27 h 696"/>
              <a:gd name="T10" fmla="*/ 0 w 1601"/>
              <a:gd name="T11" fmla="*/ 669 h 696"/>
              <a:gd name="T12" fmla="*/ 24 w 1601"/>
              <a:gd name="T13" fmla="*/ 696 h 696"/>
              <a:gd name="T14" fmla="*/ 768 w 1601"/>
              <a:gd name="T15" fmla="*/ 696 h 696"/>
              <a:gd name="T16" fmla="*/ 833 w 1601"/>
              <a:gd name="T17" fmla="*/ 696 h 696"/>
              <a:gd name="T18" fmla="*/ 1577 w 1601"/>
              <a:gd name="T19" fmla="*/ 696 h 696"/>
              <a:gd name="T20" fmla="*/ 1601 w 1601"/>
              <a:gd name="T21" fmla="*/ 669 h 696"/>
              <a:gd name="T22" fmla="*/ 1601 w 1601"/>
              <a:gd name="T23" fmla="*/ 27 h 696"/>
              <a:gd name="T24" fmla="*/ 1577 w 1601"/>
              <a:gd name="T25"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1" h="696">
                <a:moveTo>
                  <a:pt x="1577" y="0"/>
                </a:moveTo>
                <a:cubicBezTo>
                  <a:pt x="833" y="0"/>
                  <a:pt x="833" y="0"/>
                  <a:pt x="833" y="0"/>
                </a:cubicBezTo>
                <a:cubicBezTo>
                  <a:pt x="768" y="0"/>
                  <a:pt x="768" y="0"/>
                  <a:pt x="768" y="0"/>
                </a:cubicBezTo>
                <a:cubicBezTo>
                  <a:pt x="24" y="0"/>
                  <a:pt x="24" y="0"/>
                  <a:pt x="24" y="0"/>
                </a:cubicBezTo>
                <a:cubicBezTo>
                  <a:pt x="11" y="0"/>
                  <a:pt x="0" y="12"/>
                  <a:pt x="0" y="27"/>
                </a:cubicBezTo>
                <a:cubicBezTo>
                  <a:pt x="0" y="669"/>
                  <a:pt x="0" y="669"/>
                  <a:pt x="0" y="669"/>
                </a:cubicBezTo>
                <a:cubicBezTo>
                  <a:pt x="0" y="684"/>
                  <a:pt x="11" y="696"/>
                  <a:pt x="24" y="696"/>
                </a:cubicBezTo>
                <a:cubicBezTo>
                  <a:pt x="768" y="696"/>
                  <a:pt x="768" y="696"/>
                  <a:pt x="768" y="696"/>
                </a:cubicBezTo>
                <a:cubicBezTo>
                  <a:pt x="833" y="696"/>
                  <a:pt x="833" y="696"/>
                  <a:pt x="833" y="696"/>
                </a:cubicBezTo>
                <a:cubicBezTo>
                  <a:pt x="1577" y="696"/>
                  <a:pt x="1577" y="696"/>
                  <a:pt x="1577" y="696"/>
                </a:cubicBezTo>
                <a:cubicBezTo>
                  <a:pt x="1590" y="696"/>
                  <a:pt x="1601" y="684"/>
                  <a:pt x="1601" y="669"/>
                </a:cubicBezTo>
                <a:cubicBezTo>
                  <a:pt x="1601" y="27"/>
                  <a:pt x="1601" y="27"/>
                  <a:pt x="1601" y="27"/>
                </a:cubicBezTo>
                <a:cubicBezTo>
                  <a:pt x="1601" y="12"/>
                  <a:pt x="1590" y="0"/>
                  <a:pt x="1577" y="0"/>
                </a:cubicBezTo>
                <a:close/>
              </a:path>
            </a:pathLst>
          </a:custGeom>
          <a:ln>
            <a:noFill/>
          </a:ln>
          <a:effectLst>
            <a:outerShdw blurRad="50800" dist="38100" dir="5400000" algn="tl" rotWithShape="0">
              <a:srgbClr val="000000">
                <a:alpha val="43000"/>
              </a:srgbClr>
            </a:outerShdw>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latin typeface="Arial Nova"/>
              <a:ea typeface="+mn-ea"/>
              <a:cs typeface="+mn-cs"/>
            </a:endParaRPr>
          </a:p>
        </p:txBody>
      </p:sp>
      <p:sp>
        <p:nvSpPr>
          <p:cNvPr id="2" name="Title 1"/>
          <p:cNvSpPr>
            <a:spLocks noGrp="1"/>
          </p:cNvSpPr>
          <p:nvPr>
            <p:ph type="ctrTitle"/>
          </p:nvPr>
        </p:nvSpPr>
        <p:spPr>
          <a:xfrm>
            <a:off x="2569210" y="2539365"/>
            <a:ext cx="9270365" cy="857885"/>
          </a:xfrm>
        </p:spPr>
        <p:txBody>
          <a:bodyPr>
            <a:normAutofit fontScale="90000"/>
          </a:bodyPr>
          <a:lstStyle/>
          <a:p>
            <a:pPr algn="l"/>
            <a:r>
              <a:rPr lang="en-US" sz="4000" dirty="0"/>
              <a:t>Covid-19 Vaccines - Is there a best vaccine? </a:t>
            </a:r>
            <a:endParaRPr lang="en-US" sz="4000" dirty="0"/>
          </a:p>
        </p:txBody>
      </p:sp>
      <p:sp>
        <p:nvSpPr>
          <p:cNvPr id="3" name="Subtitle 2"/>
          <p:cNvSpPr>
            <a:spLocks noGrp="1"/>
          </p:cNvSpPr>
          <p:nvPr>
            <p:ph type="subTitle" idx="1"/>
          </p:nvPr>
        </p:nvSpPr>
        <p:spPr>
          <a:xfrm>
            <a:off x="9168130" y="3470910"/>
            <a:ext cx="2435225" cy="596900"/>
          </a:xfrm>
        </p:spPr>
        <p:txBody>
          <a:bodyPr>
            <a:normAutofit/>
          </a:bodyPr>
          <a:lstStyle/>
          <a:p>
            <a:pPr algn="l"/>
            <a:r>
              <a:rPr lang="en-US" sz="2300" dirty="0">
                <a:solidFill>
                  <a:srgbClr val="5792BA"/>
                </a:solidFill>
              </a:rPr>
              <a:t>Supraja Rapuru</a:t>
            </a:r>
            <a:endParaRPr lang="en-US" sz="2300" dirty="0">
              <a:solidFill>
                <a:srgbClr val="5792BA"/>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COVID-19 Vaccine - Interest Over time</a:t>
            </a:r>
            <a:endParaRPr lang="en-US" sz="2400" b="1" dirty="0"/>
          </a:p>
        </p:txBody>
      </p:sp>
      <p:pic>
        <p:nvPicPr>
          <p:cNvPr id="3" name="Content Placeholder 2"/>
          <p:cNvPicPr>
            <a:picLocks noChangeAspect="1"/>
          </p:cNvPicPr>
          <p:nvPr>
            <p:ph idx="1"/>
          </p:nvPr>
        </p:nvPicPr>
        <p:blipFill>
          <a:blip r:embed="rId1"/>
          <a:stretch>
            <a:fillRect/>
          </a:stretch>
        </p:blipFill>
        <p:spPr>
          <a:xfrm>
            <a:off x="518160" y="1545590"/>
            <a:ext cx="5669280" cy="2408555"/>
          </a:xfrm>
          <a:prstGeom prst="rect">
            <a:avLst/>
          </a:prstGeom>
        </p:spPr>
      </p:pic>
      <p:pic>
        <p:nvPicPr>
          <p:cNvPr id="4" name="Picture 3"/>
          <p:cNvPicPr>
            <a:picLocks noChangeAspect="1"/>
          </p:cNvPicPr>
          <p:nvPr/>
        </p:nvPicPr>
        <p:blipFill>
          <a:blip r:embed="rId2"/>
          <a:stretch>
            <a:fillRect/>
          </a:stretch>
        </p:blipFill>
        <p:spPr>
          <a:xfrm>
            <a:off x="6370955" y="1281430"/>
            <a:ext cx="5489575" cy="2673350"/>
          </a:xfrm>
          <a:prstGeom prst="rect">
            <a:avLst/>
          </a:prstGeom>
        </p:spPr>
      </p:pic>
      <p:sp>
        <p:nvSpPr>
          <p:cNvPr id="6" name="Text Box 5"/>
          <p:cNvSpPr txBox="1"/>
          <p:nvPr/>
        </p:nvSpPr>
        <p:spPr>
          <a:xfrm>
            <a:off x="1046480" y="4754245"/>
            <a:ext cx="9744075" cy="583565"/>
          </a:xfrm>
          <a:prstGeom prst="rect">
            <a:avLst/>
          </a:prstGeom>
          <a:noFill/>
        </p:spPr>
        <p:txBody>
          <a:bodyPr wrap="square" rtlCol="0">
            <a:spAutoFit/>
          </a:bodyPr>
          <a:p>
            <a:pPr algn="just"/>
            <a:r>
              <a:rPr lang="en-US" sz="1600" b="1" dirty="0" err="1" smtClean="0">
                <a:solidFill>
                  <a:schemeClr val="tx1"/>
                </a:solidFill>
              </a:rPr>
              <a:t>Based on the google trends data, pfizer stood out as most searched over others and searched in most of the states in USA.</a:t>
            </a:r>
            <a:endParaRPr lang="en-US" sz="1600" b="1" dirty="0" err="1" smtClean="0">
              <a:solidFill>
                <a:schemeClr val="tx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COVID-19 Vaccine - Recent study by CDC</a:t>
            </a:r>
            <a:endParaRPr lang="en-US" sz="2400" b="1" dirty="0"/>
          </a:p>
        </p:txBody>
      </p:sp>
      <p:sp>
        <p:nvSpPr>
          <p:cNvPr id="5" name="Text Box 4"/>
          <p:cNvSpPr txBox="1"/>
          <p:nvPr/>
        </p:nvSpPr>
        <p:spPr>
          <a:xfrm>
            <a:off x="794385" y="6012180"/>
            <a:ext cx="8400415" cy="306705"/>
          </a:xfrm>
          <a:prstGeom prst="rect">
            <a:avLst/>
          </a:prstGeom>
          <a:noFill/>
        </p:spPr>
        <p:txBody>
          <a:bodyPr wrap="square" rtlCol="0" anchor="t">
            <a:spAutoFit/>
          </a:bodyPr>
          <a:p>
            <a:r>
              <a:rPr lang="en-US" sz="1400" dirty="0" err="1" smtClean="0">
                <a:solidFill>
                  <a:schemeClr val="tx2">
                    <a:lumMod val="50000"/>
                  </a:schemeClr>
                </a:solidFill>
              </a:rPr>
              <a:t>Content source: Centers for Disease Control and Prevention</a:t>
            </a:r>
            <a:endParaRPr lang="en-US" sz="1400" dirty="0" err="1" smtClean="0">
              <a:solidFill>
                <a:schemeClr val="tx2">
                  <a:lumMod val="50000"/>
                </a:schemeClr>
              </a:solidFill>
            </a:endParaRPr>
          </a:p>
        </p:txBody>
      </p:sp>
      <p:sp>
        <p:nvSpPr>
          <p:cNvPr id="7" name="Text Box 6"/>
          <p:cNvSpPr txBox="1"/>
          <p:nvPr/>
        </p:nvSpPr>
        <p:spPr>
          <a:xfrm>
            <a:off x="730885" y="1709420"/>
            <a:ext cx="10730865" cy="2584450"/>
          </a:xfrm>
          <a:prstGeom prst="rect">
            <a:avLst/>
          </a:prstGeom>
          <a:noFill/>
        </p:spPr>
        <p:txBody>
          <a:bodyPr wrap="square" rtlCol="0" anchor="t">
            <a:spAutoFit/>
          </a:bodyPr>
          <a:p>
            <a:r>
              <a:rPr lang="en-US" dirty="0" err="1" smtClean="0">
                <a:solidFill>
                  <a:schemeClr val="tx2">
                    <a:lumMod val="50000"/>
                  </a:schemeClr>
                </a:solidFill>
              </a:rPr>
              <a:t>The recent study done by CDC among health health care personnel, first responders, and other essential workers aim to look at the effectiveness of Pfizer-BioNTech and Moderna mRNA vaccines in preventing SARS-CoV-2 infections among 3,950 study participants in six states over a 13-week period from December 14, 2020 to March 13, 2021.</a:t>
            </a:r>
            <a:endParaRPr lang="en-US" dirty="0" err="1" smtClean="0">
              <a:solidFill>
                <a:schemeClr val="tx2">
                  <a:lumMod val="50000"/>
                </a:schemeClr>
              </a:solidFill>
            </a:endParaRPr>
          </a:p>
          <a:p>
            <a:endParaRPr lang="en-US" dirty="0" err="1" smtClean="0">
              <a:solidFill>
                <a:schemeClr val="tx2">
                  <a:lumMod val="50000"/>
                </a:schemeClr>
              </a:solidFill>
            </a:endParaRPr>
          </a:p>
          <a:p>
            <a:r>
              <a:rPr lang="en-US" dirty="0" err="1" smtClean="0">
                <a:solidFill>
                  <a:schemeClr val="tx2">
                    <a:lumMod val="50000"/>
                  </a:schemeClr>
                </a:solidFill>
              </a:rPr>
              <a:t>Results showed that following the second dose of vaccine (the recommended number of doses), risk of infection was reduced by 90 percent two or more weeks after vaccination. Following a single dose of either vaccine, the participants’ risk of infection with  SARS-CoV-2 was reduced by 80 percent two or more weeks after vaccination.</a:t>
            </a:r>
            <a:endParaRPr lang="en-US" dirty="0" err="1" smtClean="0">
              <a:solidFill>
                <a:schemeClr val="tx2">
                  <a:lumMod val="50000"/>
                </a:schemeClr>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Conclusion</a:t>
            </a:r>
            <a:endParaRPr lang="en-US" sz="2400" b="1" dirty="0"/>
          </a:p>
        </p:txBody>
      </p:sp>
      <p:sp>
        <p:nvSpPr>
          <p:cNvPr id="22" name="Text Box 21"/>
          <p:cNvSpPr txBox="1"/>
          <p:nvPr/>
        </p:nvSpPr>
        <p:spPr>
          <a:xfrm>
            <a:off x="595630" y="1498600"/>
            <a:ext cx="10972800" cy="3415030"/>
          </a:xfrm>
          <a:prstGeom prst="rect">
            <a:avLst/>
          </a:prstGeom>
          <a:noFill/>
        </p:spPr>
        <p:txBody>
          <a:bodyPr wrap="square" rtlCol="0">
            <a:spAutoFit/>
          </a:bodyPr>
          <a:p>
            <a:pPr algn="just"/>
            <a:r>
              <a:rPr lang="en-US" dirty="0" err="1" smtClean="0">
                <a:solidFill>
                  <a:schemeClr val="tx1"/>
                </a:solidFill>
              </a:rPr>
              <a:t>These vaccines can protect recipients from a SARS-CoV- 2 infection by formation of antibodies and provide immunity against a SARS-CoV-2 infection. Though based on # of vaccines administered in USA, Clinical trails observations, Efficacy rate, adverse effects, google trends - it is natural one to believe Pfizer is more effective but scientifically it is unfair to compare </a:t>
            </a:r>
            <a:r>
              <a:rPr lang="en-US" dirty="0" err="1" smtClean="0">
                <a:sym typeface="+mn-ea"/>
              </a:rPr>
              <a:t>as they were tested in different points in time. They were tested in different populations of people when there were different strains circulating in those different populations of people.</a:t>
            </a:r>
            <a:endParaRPr lang="en-US" b="1" dirty="0" err="1" smtClean="0">
              <a:solidFill>
                <a:schemeClr val="tx1"/>
              </a:solidFill>
            </a:endParaRPr>
          </a:p>
          <a:p>
            <a:pPr algn="just"/>
            <a:endParaRPr lang="en-US" dirty="0" err="1" smtClean="0">
              <a:solidFill>
                <a:schemeClr val="tx1"/>
              </a:solidFill>
            </a:endParaRPr>
          </a:p>
          <a:p>
            <a:pPr algn="just"/>
            <a:r>
              <a:rPr lang="en-US" dirty="0" err="1" smtClean="0">
                <a:solidFill>
                  <a:schemeClr val="tx1"/>
                </a:solidFill>
              </a:rPr>
              <a:t>Both vaccines can cause various adverse effects, but these reactions are reported to be less frequent in the Pfizer/BioNTech vaccine compared to the Moderna COVID-19 vaccine; however, the Moderna vaccine compared to the Pfizer vaccine is easier to transport and store because it is less temperature sensitive. Also p</a:t>
            </a:r>
            <a:r>
              <a:rPr lang="en-US" dirty="0" err="1" smtClean="0">
                <a:sym typeface="+mn-ea"/>
              </a:rPr>
              <a:t>lease note the efficacy rates, observations studies from trails done not the actual people vaccinated as of today. By looking at the numbers, i conclude it is difficult to decide which one is better.</a:t>
            </a:r>
            <a:endParaRPr lang="en-US" dirty="0" err="1" smtClean="0">
              <a:solidFill>
                <a:schemeClr val="tx1"/>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Appendix</a:t>
            </a:r>
            <a:endParaRPr lang="en-US" sz="2400" b="1" dirty="0"/>
          </a:p>
        </p:txBody>
      </p:sp>
      <p:sp>
        <p:nvSpPr>
          <p:cNvPr id="22" name="Text Box 21"/>
          <p:cNvSpPr txBox="1"/>
          <p:nvPr/>
        </p:nvSpPr>
        <p:spPr>
          <a:xfrm>
            <a:off x="595630" y="1498600"/>
            <a:ext cx="10972800" cy="3291840"/>
          </a:xfrm>
          <a:prstGeom prst="rect">
            <a:avLst/>
          </a:prstGeom>
          <a:noFill/>
        </p:spPr>
        <p:txBody>
          <a:bodyPr wrap="square" rtlCol="0">
            <a:spAutoFit/>
          </a:bodyPr>
          <a:p>
            <a:pPr algn="just"/>
            <a:r>
              <a:rPr lang="en-US" sz="1600" b="1" dirty="0" err="1" smtClean="0">
                <a:solidFill>
                  <a:schemeClr val="tx2">
                    <a:lumMod val="50000"/>
                  </a:schemeClr>
                </a:solidFill>
                <a:sym typeface="+mn-ea"/>
              </a:rPr>
              <a:t>References:</a:t>
            </a:r>
            <a:endParaRPr lang="en-US" sz="1600" b="1" dirty="0" err="1" smtClean="0">
              <a:solidFill>
                <a:schemeClr val="tx2">
                  <a:lumMod val="50000"/>
                </a:schemeClr>
              </a:solidFill>
              <a:sym typeface="+mn-ea"/>
            </a:endParaRPr>
          </a:p>
          <a:p>
            <a:pPr algn="just"/>
            <a:endParaRPr lang="en-US" sz="1600" dirty="0" err="1" smtClean="0">
              <a:solidFill>
                <a:schemeClr val="tx2">
                  <a:lumMod val="50000"/>
                </a:schemeClr>
              </a:solidFill>
              <a:sym typeface="+mn-ea"/>
            </a:endParaRPr>
          </a:p>
          <a:p>
            <a:pPr algn="just"/>
            <a:r>
              <a:rPr lang="en-US" sz="1600" dirty="0" err="1" smtClean="0">
                <a:solidFill>
                  <a:schemeClr val="tx2">
                    <a:lumMod val="50000"/>
                  </a:schemeClr>
                </a:solidFill>
                <a:sym typeface="+mn-ea"/>
              </a:rPr>
              <a:t>www.nejm.org/doi/full/10.1056/NEJMoa2034577</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www.thelancet.com/journals/lancet/article/PIIS0140‐6736(21)00448‐7/fulltext</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www.nejm.org/doi/full/10.1056/NEJMoa2101765</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papers.ssrn.com/sol3/papers.cfm?abstract_id=3790399</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www.medrxiv.org/content/10.1101/2021.01.27.21250612v1</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assets.publishing.service.gov.uk/government/uploads/system/uploads/attachment_data/file/963532/CO</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VID‐19_vaccine_effectiveness_surveillance_report_February_2021_FINAL.pdf</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https://www.pfizer.com/news/press‐release/press‐release‐detail/pfizer‐and‐biontech‐confirm‐high‐</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efficacy‐and‐no‐serious</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https://www.nejm.org/doi/full/10.1056/NEJMc2104974</a:t>
            </a:r>
            <a:endParaRPr lang="en-US" sz="1600" dirty="0" err="1" smtClean="0">
              <a:solidFill>
                <a:schemeClr val="tx2">
                  <a:lumMod val="50000"/>
                </a:schemeClr>
              </a:solidFill>
            </a:endParaRPr>
          </a:p>
          <a:p>
            <a:pPr algn="just"/>
            <a:r>
              <a:rPr lang="en-US" sz="1600" dirty="0" err="1" smtClean="0">
                <a:solidFill>
                  <a:schemeClr val="tx2">
                    <a:lumMod val="50000"/>
                  </a:schemeClr>
                </a:solidFill>
                <a:sym typeface="+mn-ea"/>
              </a:rPr>
              <a:t>https://www.thelancet.com/journals/lancet/article/PIIS0140‐6736(21)00947‐8/fulltext</a:t>
            </a:r>
            <a:endParaRPr lang="en-US" sz="1600" dirty="0" err="1" smtClean="0">
              <a:solidFill>
                <a:schemeClr val="tx1"/>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endParaRPr lang="en-US" dirty="0"/>
          </a:p>
        </p:txBody>
      </p:sp>
      <p:sp>
        <p:nvSpPr>
          <p:cNvPr id="3" name="Content Placeholder 2"/>
          <p:cNvSpPr>
            <a:spLocks noGrp="1"/>
          </p:cNvSpPr>
          <p:nvPr>
            <p:ph sz="quarter" idx="10"/>
          </p:nvPr>
        </p:nvSpPr>
        <p:spPr>
          <a:xfrm>
            <a:off x="3331845" y="1721485"/>
            <a:ext cx="5488940" cy="3437255"/>
          </a:xfrm>
        </p:spPr>
        <p:txBody>
          <a:bodyPr/>
          <a:lstStyle/>
          <a:p>
            <a:pPr algn="just"/>
            <a:r>
              <a:rPr lang="en-US" sz="2000" dirty="0"/>
              <a:t>Project Summary</a:t>
            </a:r>
            <a:endParaRPr lang="en-US" sz="2000" dirty="0"/>
          </a:p>
          <a:p>
            <a:pPr algn="just"/>
            <a:r>
              <a:rPr lang="en-US" sz="2000" dirty="0"/>
              <a:t>Ethics Statement</a:t>
            </a:r>
            <a:endParaRPr lang="en-US" sz="2000" dirty="0"/>
          </a:p>
          <a:p>
            <a:pPr algn="just">
              <a:buSzTx/>
            </a:pPr>
            <a:r>
              <a:rPr lang="en-US" sz="2000" dirty="0">
                <a:sym typeface="+mn-ea"/>
              </a:rPr>
              <a:t>Factors Evaluated</a:t>
            </a:r>
            <a:endParaRPr lang="en-US" sz="2000" dirty="0">
              <a:sym typeface="+mn-ea"/>
            </a:endParaRPr>
          </a:p>
          <a:p>
            <a:pPr lvl="1" algn="just">
              <a:buSzTx/>
            </a:pPr>
            <a:r>
              <a:rPr lang="en-US" sz="2000" dirty="0">
                <a:sym typeface="+mn-ea"/>
              </a:rPr>
              <a:t>Vaccine Categories</a:t>
            </a:r>
            <a:endParaRPr lang="en-US" sz="2000" dirty="0">
              <a:sym typeface="+mn-ea"/>
            </a:endParaRPr>
          </a:p>
          <a:p>
            <a:pPr lvl="1" algn="just">
              <a:buSzTx/>
            </a:pPr>
            <a:r>
              <a:rPr lang="en-US" sz="2000" dirty="0">
                <a:sym typeface="+mn-ea"/>
              </a:rPr>
              <a:t>Vaccine Components</a:t>
            </a:r>
            <a:endParaRPr lang="en-US" sz="2000" dirty="0">
              <a:sym typeface="+mn-ea"/>
            </a:endParaRPr>
          </a:p>
          <a:p>
            <a:pPr lvl="1" algn="just">
              <a:buSzTx/>
            </a:pPr>
            <a:r>
              <a:rPr lang="en-US" sz="2000" dirty="0">
                <a:sym typeface="+mn-ea"/>
              </a:rPr>
              <a:t>Vaccine Efficacy</a:t>
            </a:r>
            <a:endParaRPr lang="en-US" sz="2000" dirty="0">
              <a:sym typeface="+mn-ea"/>
            </a:endParaRPr>
          </a:p>
          <a:p>
            <a:pPr lvl="1" algn="just">
              <a:buSzTx/>
            </a:pPr>
            <a:r>
              <a:rPr lang="en-US" sz="2000" dirty="0">
                <a:sym typeface="+mn-ea"/>
              </a:rPr>
              <a:t>Vaccine Adverse Effects</a:t>
            </a:r>
            <a:endParaRPr lang="en-US" sz="2000" dirty="0">
              <a:sym typeface="+mn-ea"/>
            </a:endParaRPr>
          </a:p>
          <a:p>
            <a:pPr algn="just">
              <a:buSzTx/>
            </a:pPr>
            <a:r>
              <a:rPr lang="en-US" sz="2000" dirty="0"/>
              <a:t>Conclusion</a:t>
            </a:r>
            <a:endParaRPr lang="en-US" sz="2000" dirty="0"/>
          </a:p>
          <a:p>
            <a:pPr algn="just">
              <a:buSzTx/>
            </a:pPr>
            <a:r>
              <a:rPr lang="en-US" sz="2000" dirty="0"/>
              <a:t>Appendix</a:t>
            </a:r>
            <a:endParaRPr lang="en-US" sz="2000" dirty="0"/>
          </a:p>
          <a:p>
            <a:pPr marL="0" indent="0" algn="just">
              <a:buNone/>
            </a:pPr>
            <a:endParaRPr lang="en-US" sz="2400" dirty="0"/>
          </a:p>
          <a:p>
            <a:pPr marL="0" indent="0" algn="just">
              <a:buNone/>
            </a:pPr>
            <a:endParaRPr lang="en-US" sz="1600" dirty="0"/>
          </a:p>
          <a:p>
            <a:pPr lvl="1">
              <a:buNone/>
            </a:pPr>
            <a:endParaRPr lang="en-US" sz="1600" dirty="0"/>
          </a:p>
          <a:p>
            <a:pPr lvl="1">
              <a:buNone/>
            </a:pPr>
            <a:endParaRPr lang="en-US" sz="16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3518535" cy="1002030"/>
          </a:xfrm>
        </p:spPr>
        <p:txBody>
          <a:bodyPr/>
          <a:lstStyle/>
          <a:p>
            <a:r>
              <a:rPr lang="en-US" sz="2400" b="1" dirty="0"/>
              <a:t>Project Summary</a:t>
            </a:r>
            <a:endParaRPr lang="en-US" sz="2400" dirty="0"/>
          </a:p>
        </p:txBody>
      </p:sp>
      <p:sp>
        <p:nvSpPr>
          <p:cNvPr id="22" name="Text Box 21"/>
          <p:cNvSpPr txBox="1"/>
          <p:nvPr/>
        </p:nvSpPr>
        <p:spPr>
          <a:xfrm>
            <a:off x="466090" y="1652270"/>
            <a:ext cx="11028045" cy="3476625"/>
          </a:xfrm>
          <a:prstGeom prst="rect">
            <a:avLst/>
          </a:prstGeom>
          <a:noFill/>
        </p:spPr>
        <p:txBody>
          <a:bodyPr wrap="square" rtlCol="0">
            <a:spAutoFit/>
          </a:bodyPr>
          <a:p>
            <a:r>
              <a:rPr lang="en-US" sz="2000" dirty="0" err="1" smtClean="0">
                <a:solidFill>
                  <a:schemeClr val="tx2">
                    <a:lumMod val="50000"/>
                  </a:schemeClr>
                </a:solidFill>
              </a:rPr>
              <a:t>Severe acute respiratory syndrome coronavirus 2 (SARS-CoV-2) infection and the resulting coronavirus disease 2019 (Covid-19) have afflicted tens of millions of people in a worldwide pandemic. Safe and effective vaccines are needed urgently.</a:t>
            </a:r>
            <a:endParaRPr lang="en-US" sz="2000" dirty="0" err="1" smtClean="0">
              <a:solidFill>
                <a:schemeClr val="tx2">
                  <a:lumMod val="50000"/>
                </a:schemeClr>
              </a:solidFill>
            </a:endParaRPr>
          </a:p>
          <a:p>
            <a:endParaRPr lang="en-US" sz="2000" dirty="0" err="1" smtClean="0">
              <a:solidFill>
                <a:schemeClr val="tx2">
                  <a:lumMod val="50000"/>
                </a:schemeClr>
              </a:solidFill>
            </a:endParaRPr>
          </a:p>
          <a:p>
            <a:r>
              <a:rPr lang="en-US" sz="2000" dirty="0" err="1" smtClean="0">
                <a:solidFill>
                  <a:schemeClr val="tx2">
                    <a:lumMod val="50000"/>
                  </a:schemeClr>
                </a:solidFill>
              </a:rPr>
              <a:t>The project aims to convey the analysis of different ongoing vaccination programs with in United States of America by using all publications, reports, and news articles and review all available data to find how effective vaccines are at achieving multiple outcomes.</a:t>
            </a:r>
            <a:endParaRPr lang="en-US" sz="2000" dirty="0" err="1" smtClean="0">
              <a:solidFill>
                <a:schemeClr val="tx2">
                  <a:lumMod val="50000"/>
                </a:schemeClr>
              </a:solidFill>
            </a:endParaRPr>
          </a:p>
          <a:p>
            <a:endParaRPr lang="en-US" sz="2000" dirty="0" err="1" smtClean="0">
              <a:solidFill>
                <a:schemeClr val="tx2">
                  <a:lumMod val="50000"/>
                </a:schemeClr>
              </a:solidFill>
            </a:endParaRPr>
          </a:p>
          <a:p>
            <a:r>
              <a:rPr lang="en-US" sz="2000" dirty="0" err="1" smtClean="0">
                <a:solidFill>
                  <a:schemeClr val="tx2">
                    <a:lumMod val="50000"/>
                  </a:schemeClr>
                </a:solidFill>
              </a:rPr>
              <a:t>The </a:t>
            </a:r>
            <a:r>
              <a:rPr lang="en-US" sz="2000" b="1" dirty="0" err="1" smtClean="0">
                <a:solidFill>
                  <a:schemeClr val="tx2">
                    <a:lumMod val="50000"/>
                  </a:schemeClr>
                </a:solidFill>
              </a:rPr>
              <a:t>objectives</a:t>
            </a:r>
            <a:r>
              <a:rPr lang="en-US" sz="2000" dirty="0" err="1" smtClean="0">
                <a:solidFill>
                  <a:schemeClr val="tx2">
                    <a:lumMod val="50000"/>
                  </a:schemeClr>
                </a:solidFill>
              </a:rPr>
              <a:t> for the following project to prove there is no best vaccine. A</a:t>
            </a:r>
            <a:r>
              <a:rPr lang="en-US" sz="2000" dirty="0" err="1" smtClean="0">
                <a:solidFill>
                  <a:schemeClr val="tx2">
                    <a:lumMod val="50000"/>
                  </a:schemeClr>
                </a:solidFill>
                <a:sym typeface="+mn-ea"/>
              </a:rPr>
              <a:t>ll the vaccines are effective, particularly at preventing serious disease. Because trials were conducted differently at different times, effectiveness figures cannot be directly compared</a:t>
            </a:r>
            <a:r>
              <a:rPr lang="en-US" sz="2000" dirty="0" err="1" smtClean="0">
                <a:solidFill>
                  <a:schemeClr val="tx2">
                    <a:lumMod val="50000"/>
                  </a:schemeClr>
                </a:solidFill>
                <a:sym typeface="+mn-ea"/>
              </a:rPr>
              <a:t>.</a:t>
            </a:r>
            <a:endParaRPr lang="en-US" sz="2000" b="1" dirty="0" err="1" smtClean="0">
              <a:solidFill>
                <a:schemeClr val="tx2">
                  <a:lumMod val="50000"/>
                </a:schemeClr>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3518535" cy="1002030"/>
          </a:xfrm>
        </p:spPr>
        <p:txBody>
          <a:bodyPr/>
          <a:lstStyle/>
          <a:p>
            <a:r>
              <a:rPr lang="en-US" sz="2400" b="1" dirty="0"/>
              <a:t>Ethics Statement</a:t>
            </a:r>
            <a:endParaRPr lang="en-US" sz="2400" b="1" dirty="0"/>
          </a:p>
        </p:txBody>
      </p:sp>
      <p:sp>
        <p:nvSpPr>
          <p:cNvPr id="22" name="Text Box 21"/>
          <p:cNvSpPr txBox="1"/>
          <p:nvPr/>
        </p:nvSpPr>
        <p:spPr>
          <a:xfrm>
            <a:off x="581660" y="1623060"/>
            <a:ext cx="11028045" cy="1198880"/>
          </a:xfrm>
          <a:prstGeom prst="rect">
            <a:avLst/>
          </a:prstGeom>
          <a:noFill/>
        </p:spPr>
        <p:txBody>
          <a:bodyPr wrap="square" rtlCol="0">
            <a:spAutoFit/>
          </a:bodyPr>
          <a:p>
            <a:r>
              <a:rPr lang="en-US" sz="2400" dirty="0" err="1" smtClean="0">
                <a:solidFill>
                  <a:schemeClr val="tx2">
                    <a:lumMod val="50000"/>
                  </a:schemeClr>
                </a:solidFill>
              </a:rPr>
              <a:t>In this study i have extracted and recorded the publicly available database literature on coronavirus, SARS-CoV-2, COVID-19 vaccine, Pfizer/BioNTech and Moderna vaccines; hence, Ethical approval was not required. </a:t>
            </a:r>
            <a:endParaRPr lang="en-US" sz="2400" dirty="0" err="1" smtClean="0">
              <a:solidFill>
                <a:schemeClr val="tx2">
                  <a:lumMod val="50000"/>
                </a:schemeClr>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Vaccines Categories</a:t>
            </a:r>
            <a:endParaRPr lang="en-US" sz="2400" dirty="0"/>
          </a:p>
        </p:txBody>
      </p:sp>
      <p:pic>
        <p:nvPicPr>
          <p:cNvPr id="19" name="Content Placeholder 18"/>
          <p:cNvPicPr>
            <a:picLocks noChangeAspect="1"/>
          </p:cNvPicPr>
          <p:nvPr>
            <p:ph idx="1"/>
          </p:nvPr>
        </p:nvPicPr>
        <p:blipFill>
          <a:blip r:embed="rId1"/>
          <a:stretch>
            <a:fillRect/>
          </a:stretch>
        </p:blipFill>
        <p:spPr>
          <a:xfrm>
            <a:off x="745490" y="1318260"/>
            <a:ext cx="4881245" cy="3215005"/>
          </a:xfrm>
          <a:prstGeom prst="rect">
            <a:avLst/>
          </a:prstGeom>
        </p:spPr>
      </p:pic>
      <p:pic>
        <p:nvPicPr>
          <p:cNvPr id="20" name="Picture 19"/>
          <p:cNvPicPr>
            <a:picLocks noChangeAspect="1"/>
          </p:cNvPicPr>
          <p:nvPr/>
        </p:nvPicPr>
        <p:blipFill>
          <a:blip r:embed="rId2"/>
          <a:stretch>
            <a:fillRect/>
          </a:stretch>
        </p:blipFill>
        <p:spPr>
          <a:xfrm>
            <a:off x="5655310" y="1058545"/>
            <a:ext cx="5484495" cy="3460115"/>
          </a:xfrm>
          <a:prstGeom prst="rect">
            <a:avLst/>
          </a:prstGeom>
        </p:spPr>
      </p:pic>
      <p:sp>
        <p:nvSpPr>
          <p:cNvPr id="21" name="Text Box 20"/>
          <p:cNvSpPr txBox="1"/>
          <p:nvPr/>
        </p:nvSpPr>
        <p:spPr>
          <a:xfrm>
            <a:off x="745490" y="4504690"/>
            <a:ext cx="11014075" cy="1322070"/>
          </a:xfrm>
          <a:prstGeom prst="rect">
            <a:avLst/>
          </a:prstGeom>
          <a:noFill/>
        </p:spPr>
        <p:txBody>
          <a:bodyPr wrap="square" rtlCol="0">
            <a:spAutoFit/>
          </a:bodyPr>
          <a:p>
            <a:r>
              <a:rPr lang="en-US" sz="1600" b="1" dirty="0" err="1" smtClean="0">
                <a:gradFill>
                  <a:gsLst>
                    <a:gs pos="0">
                      <a:srgbClr val="007BD3"/>
                    </a:gs>
                    <a:gs pos="100000">
                      <a:srgbClr val="034373"/>
                    </a:gs>
                  </a:gsLst>
                  <a:lin scaled="0"/>
                </a:gradFill>
              </a:rPr>
              <a:t>Inferences:</a:t>
            </a:r>
            <a:r>
              <a:rPr lang="en-US" sz="1600" b="1" dirty="0" err="1" smtClean="0">
                <a:solidFill>
                  <a:schemeClr val="tx1"/>
                </a:solidFill>
              </a:rPr>
              <a:t> As per the charts above, Pfizer vaccines numbers are high comparatively to Moderna and Janaseen. As per the second chart Pfizer has got more doses delivered, that explains why we see pfizer is widely administered vaccine in USA. </a:t>
            </a:r>
            <a:r>
              <a:rPr lang="en-US" sz="1600" b="1" dirty="0" err="1" smtClean="0">
                <a:solidFill>
                  <a:schemeClr val="tx1"/>
                </a:solidFill>
                <a:sym typeface="+mn-ea"/>
              </a:rPr>
              <a:t>Pfizer/BioNTech has gained more popularity due to its better manufacturing capabilities abilities, so they are making more vaccines and the same is procured and distributed by US Federal government to all its jurisdictions.</a:t>
            </a:r>
            <a:endParaRPr lang="en-US" sz="1600" b="1" dirty="0" err="1" smtClean="0">
              <a:solidFill>
                <a:schemeClr val="tx1"/>
              </a:solidFill>
              <a:sym typeface="+mn-ea"/>
            </a:endParaRPr>
          </a:p>
        </p:txBody>
      </p:sp>
      <p:sp>
        <p:nvSpPr>
          <p:cNvPr id="23" name="Rectangles 22"/>
          <p:cNvSpPr/>
          <p:nvPr/>
        </p:nvSpPr>
        <p:spPr>
          <a:xfrm>
            <a:off x="1286193" y="5969635"/>
            <a:ext cx="7853680" cy="368300"/>
          </a:xfrm>
          <a:prstGeom prst="rect">
            <a:avLst/>
          </a:prstGeom>
          <a:noFill/>
          <a:ln>
            <a:noFill/>
          </a:ln>
        </p:spPr>
        <p:txBody>
          <a:bodyPr wrap="none" rtlCol="0" anchor="t">
            <a:spAutoFit/>
            <a:scene3d>
              <a:camera prst="orthographicFront"/>
              <a:lightRig rig="soft" dir="t">
                <a:rot lat="0" lon="0" rev="15600000"/>
              </a:lightRig>
            </a:scene3d>
            <a:sp3d extrusionH="57150" prstMaterial="softEdge">
              <a:bevelT w="25400" h="38100"/>
            </a:sp3d>
          </a:bodyPr>
          <a:p>
            <a:pPr algn="ctr"/>
            <a:r>
              <a:rPr lang="en-US" altLang="zh-CN" b="1">
                <a:gradFill>
                  <a:gsLst>
                    <a:gs pos="0">
                      <a:srgbClr val="007BD3"/>
                    </a:gs>
                    <a:gs pos="100000">
                      <a:srgbClr val="034373"/>
                    </a:gs>
                  </a:gsLst>
                  <a:lin scaled="0"/>
                </a:gradFill>
                <a:effectLst/>
              </a:rPr>
              <a:t>Pfizer is most allocated and distribu</a:t>
            </a:r>
            <a:r>
              <a:rPr lang="en-US" altLang="zh-CN" b="1">
                <a:gradFill>
                  <a:gsLst>
                    <a:gs pos="0">
                      <a:srgbClr val="007BD3"/>
                    </a:gs>
                    <a:gs pos="100000">
                      <a:srgbClr val="034373"/>
                    </a:gs>
                  </a:gsLst>
                  <a:lin scaled="0"/>
                </a:gradFill>
                <a:effectLst/>
              </a:rPr>
              <a:t>ted vaccine by federal government</a:t>
            </a:r>
            <a:endParaRPr lang="en-US" altLang="zh-CN" b="1">
              <a:gradFill>
                <a:gsLst>
                  <a:gs pos="0">
                    <a:srgbClr val="007BD3"/>
                  </a:gs>
                  <a:gs pos="100000">
                    <a:srgbClr val="034373"/>
                  </a:gs>
                </a:gsLst>
                <a:lin scaled="0"/>
              </a:gradFill>
              <a:effectLst/>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US Covid-19 Vaccine Distribution by State/Jurisdiction</a:t>
            </a:r>
            <a:endParaRPr lang="en-US" sz="2400" b="1" dirty="0"/>
          </a:p>
        </p:txBody>
      </p:sp>
      <p:sp>
        <p:nvSpPr>
          <p:cNvPr id="6" name="TextBox 5"/>
          <p:cNvSpPr txBox="1"/>
          <p:nvPr/>
        </p:nvSpPr>
        <p:spPr>
          <a:xfrm>
            <a:off x="575310" y="4318000"/>
            <a:ext cx="2218055" cy="213995"/>
          </a:xfrm>
          <a:prstGeom prst="rect">
            <a:avLst/>
          </a:prstGeom>
          <a:noFill/>
        </p:spPr>
        <p:txBody>
          <a:bodyPr wrap="square" rtlCol="0">
            <a:spAutoFit/>
          </a:bodyPr>
          <a:lstStyle/>
          <a:p>
            <a:r>
              <a:rPr lang="en-US" sz="800" dirty="0">
                <a:solidFill>
                  <a:schemeClr val="tx2">
                    <a:lumMod val="50000"/>
                  </a:schemeClr>
                </a:solidFill>
              </a:rPr>
              <a:t>Data Source downloaded: CDC.Data.gov</a:t>
            </a:r>
            <a:endParaRPr lang="en-US" sz="800" dirty="0">
              <a:solidFill>
                <a:schemeClr val="tx2">
                  <a:lumMod val="50000"/>
                </a:schemeClr>
              </a:solidFill>
            </a:endParaRPr>
          </a:p>
        </p:txBody>
      </p:sp>
      <p:pic>
        <p:nvPicPr>
          <p:cNvPr id="4" name="Picture 3"/>
          <p:cNvPicPr>
            <a:picLocks noChangeAspect="1"/>
          </p:cNvPicPr>
          <p:nvPr/>
        </p:nvPicPr>
        <p:blipFill>
          <a:blip r:embed="rId2"/>
          <a:stretch>
            <a:fillRect/>
          </a:stretch>
        </p:blipFill>
        <p:spPr>
          <a:xfrm>
            <a:off x="575310" y="1630045"/>
            <a:ext cx="7944485" cy="2603500"/>
          </a:xfrm>
          <a:prstGeom prst="rect">
            <a:avLst/>
          </a:prstGeom>
          <a:ln w="28575" cmpd="sng">
            <a:solidFill>
              <a:schemeClr val="tx1"/>
            </a:solidFill>
            <a:prstDash val="solid"/>
          </a:ln>
        </p:spPr>
      </p:pic>
      <p:sp>
        <p:nvSpPr>
          <p:cNvPr id="10" name="Text Box 9"/>
          <p:cNvSpPr txBox="1"/>
          <p:nvPr/>
        </p:nvSpPr>
        <p:spPr>
          <a:xfrm>
            <a:off x="575310" y="4601845"/>
            <a:ext cx="10454640" cy="1814830"/>
          </a:xfrm>
          <a:prstGeom prst="rect">
            <a:avLst/>
          </a:prstGeom>
          <a:noFill/>
        </p:spPr>
        <p:txBody>
          <a:bodyPr wrap="square" rtlCol="0" anchor="t">
            <a:spAutoFit/>
          </a:bodyPr>
          <a:p>
            <a:r>
              <a:rPr lang="en-US" sz="1400" b="1" dirty="0" err="1" smtClean="0">
                <a:solidFill>
                  <a:srgbClr val="0070C0"/>
                </a:solidFill>
                <a:sym typeface="+mn-ea"/>
              </a:rPr>
              <a:t>Inferences: </a:t>
            </a:r>
            <a:r>
              <a:rPr lang="en-US" sz="1400" b="1" dirty="0" err="1" smtClean="0">
                <a:sym typeface="+mn-ea"/>
              </a:rPr>
              <a:t>As per FDA briefings, it is approved </a:t>
            </a:r>
            <a:r>
              <a:rPr lang="en-US" sz="1400" b="1" dirty="0" err="1" smtClean="0">
                <a:sym typeface="+mn-ea"/>
              </a:rPr>
              <a:t>Pfizer-BioNTech on Dec 10,2020 and Moderna on Dec 17,2020 for emergency use. Hence it is evident that the testing done possibly on different strains circulating in those different populations of people.</a:t>
            </a:r>
            <a:endParaRPr lang="en-US" sz="1400" b="1" dirty="0" err="1" smtClean="0"/>
          </a:p>
          <a:p>
            <a:endParaRPr lang="en-US" sz="1400" b="1" dirty="0" err="1" smtClean="0">
              <a:solidFill>
                <a:schemeClr val="tx1"/>
              </a:solidFill>
              <a:sym typeface="+mn-ea"/>
            </a:endParaRPr>
          </a:p>
          <a:p>
            <a:r>
              <a:rPr lang="en-US" sz="1400" b="1" dirty="0" err="1" smtClean="0">
                <a:solidFill>
                  <a:schemeClr val="tx1"/>
                </a:solidFill>
                <a:sym typeface="+mn-ea"/>
              </a:rPr>
              <a:t>Pfizer and Moderna are distributed to states by federal government hence you see the # of people vaccinated with Pfizer and Moderna are more. Pfizer distribution started on 12/14/2020, Moderna on 12/21/2020 where as Janseen is March 2021. Also news about blood clotting events for Janaseen has kept the distribution on hold. Between Pfizer and Moderna, Pfizer has more numbers and make it popular.</a:t>
            </a:r>
            <a:endParaRPr lang="en-US" sz="1400" b="1" dirty="0" err="1" smtClean="0">
              <a:solidFill>
                <a:schemeClr val="tx1"/>
              </a:solidFill>
              <a:sym typeface="+mn-ea"/>
            </a:endParaRPr>
          </a:p>
        </p:txBody>
      </p:sp>
      <p:graphicFrame>
        <p:nvGraphicFramePr>
          <p:cNvPr id="5" name="Chart 4"/>
          <p:cNvGraphicFramePr/>
          <p:nvPr/>
        </p:nvGraphicFramePr>
        <p:xfrm>
          <a:off x="8788400" y="1878330"/>
          <a:ext cx="2585720" cy="1840865"/>
        </p:xfrm>
        <a:graphic>
          <a:graphicData uri="http://schemas.openxmlformats.org/drawingml/2006/chart">
            <c:chart xmlns:c="http://schemas.openxmlformats.org/drawingml/2006/chart" xmlns:r="http://schemas.openxmlformats.org/officeDocument/2006/relationships" r:id="rId1"/>
          </a:graphicData>
        </a:graphic>
      </p:graphicFrame>
      <p:sp>
        <p:nvSpPr>
          <p:cNvPr id="7" name="Text Box 6"/>
          <p:cNvSpPr txBox="1"/>
          <p:nvPr/>
        </p:nvSpPr>
        <p:spPr>
          <a:xfrm>
            <a:off x="8792845" y="1453515"/>
            <a:ext cx="2527935" cy="275590"/>
          </a:xfrm>
          <a:prstGeom prst="rect">
            <a:avLst/>
          </a:prstGeom>
          <a:noFill/>
        </p:spPr>
        <p:txBody>
          <a:bodyPr wrap="square" rtlCol="0">
            <a:spAutoFit/>
          </a:bodyPr>
          <a:p>
            <a:r>
              <a:rPr lang="en-US" sz="1200" b="1" dirty="0" err="1" smtClean="0">
                <a:solidFill>
                  <a:schemeClr val="tx2">
                    <a:lumMod val="50000"/>
                  </a:schemeClr>
                </a:solidFill>
              </a:rPr>
              <a:t>Vaccine Distribution Start Dates</a:t>
            </a:r>
            <a:endParaRPr lang="en-US" sz="1200" b="1" dirty="0" err="1" smtClean="0">
              <a:solidFill>
                <a:schemeClr val="tx2">
                  <a:lumMod val="50000"/>
                </a:schemeClr>
              </a:solidFill>
            </a:endParaRPr>
          </a:p>
        </p:txBody>
      </p:sp>
      <p:sp>
        <p:nvSpPr>
          <p:cNvPr id="8" name="Text Box 7"/>
          <p:cNvSpPr txBox="1"/>
          <p:nvPr/>
        </p:nvSpPr>
        <p:spPr>
          <a:xfrm>
            <a:off x="1866265" y="1211580"/>
            <a:ext cx="3623945" cy="275590"/>
          </a:xfrm>
          <a:prstGeom prst="rect">
            <a:avLst/>
          </a:prstGeom>
          <a:noFill/>
        </p:spPr>
        <p:txBody>
          <a:bodyPr wrap="square" rtlCol="0">
            <a:spAutoFit/>
          </a:bodyPr>
          <a:p>
            <a:r>
              <a:rPr lang="en-US" sz="1200" b="1" dirty="0" err="1" smtClean="0">
                <a:solidFill>
                  <a:schemeClr val="tx2">
                    <a:lumMod val="50000"/>
                  </a:schemeClr>
                </a:solidFill>
              </a:rPr>
              <a:t>Vaccine Distribution by types and by States</a:t>
            </a:r>
            <a:endParaRPr lang="en-US" sz="1200" b="1" dirty="0" err="1" smtClean="0">
              <a:solidFill>
                <a:schemeClr val="tx2">
                  <a:lumMod val="50000"/>
                </a:schemeClr>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Vaccines Components</a:t>
            </a:r>
            <a:endParaRPr lang="en-US" sz="2400" dirty="0"/>
          </a:p>
        </p:txBody>
      </p:sp>
      <p:sp>
        <p:nvSpPr>
          <p:cNvPr id="21" name="Text Box 20"/>
          <p:cNvSpPr txBox="1"/>
          <p:nvPr/>
        </p:nvSpPr>
        <p:spPr>
          <a:xfrm>
            <a:off x="589280" y="1731645"/>
            <a:ext cx="11014075" cy="2584450"/>
          </a:xfrm>
          <a:prstGeom prst="rect">
            <a:avLst/>
          </a:prstGeom>
          <a:noFill/>
        </p:spPr>
        <p:txBody>
          <a:bodyPr wrap="square" rtlCol="0">
            <a:spAutoFit/>
          </a:bodyPr>
          <a:p>
            <a:r>
              <a:rPr lang="en-US" dirty="0" err="1" smtClean="0">
                <a:solidFill>
                  <a:schemeClr val="tx2">
                    <a:lumMod val="50000"/>
                  </a:schemeClr>
                </a:solidFill>
                <a:sym typeface="+mn-ea"/>
              </a:rPr>
              <a:t>The vaccines developed by Pfizer-BioNTech and Moderna take advantage of messenger RNA (mRNA), which instructs cells to produce a protein on the surface of the virus. The immune system recognizes those vaccine-triggered spike proteins as invaders and creates antibodies to block future attacks of the virus that causes COVID-19.</a:t>
            </a:r>
            <a:endParaRPr lang="en-US" dirty="0" err="1" smtClean="0">
              <a:solidFill>
                <a:schemeClr val="tx2">
                  <a:lumMod val="50000"/>
                </a:schemeClr>
              </a:solidFill>
              <a:sym typeface="+mn-ea"/>
            </a:endParaRPr>
          </a:p>
          <a:p>
            <a:endParaRPr lang="en-US" dirty="0" err="1" smtClean="0">
              <a:solidFill>
                <a:schemeClr val="tx2">
                  <a:lumMod val="50000"/>
                </a:schemeClr>
              </a:solidFill>
              <a:sym typeface="+mn-ea"/>
            </a:endParaRPr>
          </a:p>
          <a:p>
            <a:r>
              <a:rPr lang="en-US" b="1" dirty="0" err="1" smtClean="0">
                <a:solidFill>
                  <a:schemeClr val="tx2">
                    <a:lumMod val="50000"/>
                  </a:schemeClr>
                </a:solidFill>
                <a:sym typeface="+mn-ea"/>
              </a:rPr>
              <a:t>Moderna’s</a:t>
            </a:r>
            <a:r>
              <a:rPr lang="en-US" dirty="0" err="1" smtClean="0">
                <a:solidFill>
                  <a:schemeClr val="tx2">
                    <a:lumMod val="50000"/>
                  </a:schemeClr>
                </a:solidFill>
                <a:sym typeface="+mn-ea"/>
              </a:rPr>
              <a:t> vaccine uses</a:t>
            </a:r>
            <a:r>
              <a:rPr lang="en-US" b="1" dirty="0" err="1" smtClean="0">
                <a:solidFill>
                  <a:schemeClr val="tx2">
                    <a:lumMod val="50000"/>
                  </a:schemeClr>
                </a:solidFill>
                <a:sym typeface="+mn-ea"/>
              </a:rPr>
              <a:t> 100 micrograms of RNA</a:t>
            </a:r>
            <a:r>
              <a:rPr lang="en-US" dirty="0" err="1" smtClean="0">
                <a:solidFill>
                  <a:schemeClr val="tx2">
                    <a:lumMod val="50000"/>
                  </a:schemeClr>
                </a:solidFill>
                <a:sym typeface="+mn-ea"/>
              </a:rPr>
              <a:t> per dose, while </a:t>
            </a:r>
            <a:r>
              <a:rPr lang="en-US" b="1" dirty="0" err="1" smtClean="0">
                <a:solidFill>
                  <a:schemeClr val="tx2">
                    <a:lumMod val="50000"/>
                  </a:schemeClr>
                </a:solidFill>
                <a:sym typeface="+mn-ea"/>
              </a:rPr>
              <a:t>Pfizer-BioNTech’s</a:t>
            </a:r>
            <a:r>
              <a:rPr lang="en-US" dirty="0" err="1" smtClean="0">
                <a:solidFill>
                  <a:schemeClr val="tx2">
                    <a:lumMod val="50000"/>
                  </a:schemeClr>
                </a:solidFill>
                <a:sym typeface="+mn-ea"/>
              </a:rPr>
              <a:t> shot uses only </a:t>
            </a:r>
            <a:r>
              <a:rPr lang="en-US" b="1" dirty="0" err="1" smtClean="0">
                <a:solidFill>
                  <a:schemeClr val="tx2">
                    <a:lumMod val="50000"/>
                  </a:schemeClr>
                </a:solidFill>
                <a:sym typeface="+mn-ea"/>
              </a:rPr>
              <a:t>3</a:t>
            </a:r>
            <a:r>
              <a:rPr lang="en-US" b="1" dirty="0" err="1" smtClean="0">
                <a:solidFill>
                  <a:schemeClr val="tx2">
                    <a:lumMod val="50000"/>
                  </a:schemeClr>
                </a:solidFill>
                <a:sym typeface="+mn-ea"/>
              </a:rPr>
              <a:t>0 micrograms </a:t>
            </a:r>
            <a:r>
              <a:rPr lang="en-US" dirty="0" err="1" smtClean="0">
                <a:solidFill>
                  <a:schemeClr val="tx2">
                    <a:lumMod val="50000"/>
                  </a:schemeClr>
                </a:solidFill>
                <a:sym typeface="+mn-ea"/>
              </a:rPr>
              <a:t>making it easier to produce and less expensive. That should enable Pfizer-BioNTech to increase production of their vaccine more quickly than Moderna which is evident pfizer vaccinated population is more than others in USA.</a:t>
            </a:r>
            <a:endParaRPr lang="en-US" b="1" dirty="0" err="1" smtClean="0">
              <a:solidFill>
                <a:schemeClr val="tx1"/>
              </a:solidFill>
            </a:endParaRPr>
          </a:p>
        </p:txBody>
      </p:sp>
      <p:sp>
        <p:nvSpPr>
          <p:cNvPr id="23" name="Rectangles 22"/>
          <p:cNvSpPr/>
          <p:nvPr/>
        </p:nvSpPr>
        <p:spPr>
          <a:xfrm>
            <a:off x="1265873" y="5570220"/>
            <a:ext cx="8314690" cy="645160"/>
          </a:xfrm>
          <a:prstGeom prst="rect">
            <a:avLst/>
          </a:prstGeom>
          <a:noFill/>
          <a:ln>
            <a:noFill/>
          </a:ln>
        </p:spPr>
        <p:txBody>
          <a:bodyPr wrap="none" rtlCol="0" anchor="t">
            <a:spAutoFit/>
            <a:scene3d>
              <a:camera prst="orthographicFront"/>
              <a:lightRig rig="soft" dir="t">
                <a:rot lat="0" lon="0" rev="15600000"/>
              </a:lightRig>
            </a:scene3d>
            <a:sp3d extrusionH="57150" prstMaterial="softEdge">
              <a:bevelT w="25400" h="38100"/>
            </a:sp3d>
          </a:bodyPr>
          <a:p>
            <a:pPr algn="ctr"/>
            <a:r>
              <a:rPr lang="en-US" altLang="zh-CN" b="1">
                <a:gradFill>
                  <a:gsLst>
                    <a:gs pos="0">
                      <a:srgbClr val="007BD3"/>
                    </a:gs>
                    <a:gs pos="100000">
                      <a:srgbClr val="034373"/>
                    </a:gs>
                  </a:gsLst>
                  <a:lin scaled="0"/>
                </a:gradFill>
                <a:effectLst/>
                <a:sym typeface="+mn-ea"/>
              </a:rPr>
              <a:t>Pfizer uses less RNA per dose hence production rate is high which proves </a:t>
            </a:r>
            <a:endParaRPr lang="en-US" altLang="zh-CN" b="1">
              <a:gradFill>
                <a:gsLst>
                  <a:gs pos="0">
                    <a:srgbClr val="007BD3"/>
                  </a:gs>
                  <a:gs pos="100000">
                    <a:srgbClr val="034373"/>
                  </a:gs>
                </a:gsLst>
                <a:lin scaled="0"/>
              </a:gradFill>
              <a:effectLst/>
              <a:sym typeface="+mn-ea"/>
            </a:endParaRPr>
          </a:p>
          <a:p>
            <a:pPr algn="ctr"/>
            <a:r>
              <a:rPr lang="en-US" altLang="zh-CN" b="1">
                <a:gradFill>
                  <a:gsLst>
                    <a:gs pos="0">
                      <a:srgbClr val="007BD3"/>
                    </a:gs>
                    <a:gs pos="100000">
                      <a:srgbClr val="034373"/>
                    </a:gs>
                  </a:gsLst>
                  <a:lin scaled="0"/>
                </a:gradFill>
                <a:effectLst/>
                <a:sym typeface="+mn-ea"/>
              </a:rPr>
              <a:t>why # vaccinated people with Pfizer are more. </a:t>
            </a:r>
            <a:endParaRPr lang="en-US" altLang="zh-CN" b="1">
              <a:gradFill>
                <a:gsLst>
                  <a:gs pos="0">
                    <a:srgbClr val="007BD3"/>
                  </a:gs>
                  <a:gs pos="100000">
                    <a:srgbClr val="034373"/>
                  </a:gs>
                </a:gsLst>
                <a:lin scaled="0"/>
              </a:gradFill>
              <a:effectLs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COVID-19 Vaccine Efficacy - </a:t>
            </a:r>
            <a:r>
              <a:rPr lang="en-US" sz="2400" dirty="0"/>
              <a:t>Data available today consist of clinical trials and several quasi-observational studies</a:t>
            </a:r>
            <a:endParaRPr lang="en-US" sz="2400" dirty="0"/>
          </a:p>
        </p:txBody>
      </p:sp>
      <p:sp>
        <p:nvSpPr>
          <p:cNvPr id="22" name="Text Box 21"/>
          <p:cNvSpPr txBox="1"/>
          <p:nvPr/>
        </p:nvSpPr>
        <p:spPr>
          <a:xfrm>
            <a:off x="518795" y="5518150"/>
            <a:ext cx="11014075" cy="829945"/>
          </a:xfrm>
          <a:prstGeom prst="rect">
            <a:avLst/>
          </a:prstGeom>
          <a:noFill/>
        </p:spPr>
        <p:txBody>
          <a:bodyPr wrap="square" rtlCol="0">
            <a:spAutoFit/>
          </a:bodyPr>
          <a:p>
            <a:r>
              <a:rPr lang="en-US" sz="1600" b="1" dirty="0" err="1" smtClean="0">
                <a:solidFill>
                  <a:schemeClr val="tx1"/>
                </a:solidFill>
              </a:rPr>
              <a:t>Based on the published details, it is evident that Pfizer has more studies done on multiple variants and overall efficacy rate of 95% which probably one of the key factor to gain peoples confidence thus reducing hesitancy rate among people of United states of America.</a:t>
            </a:r>
            <a:endParaRPr lang="en-US" sz="1600" b="1" dirty="0" err="1" smtClean="0">
              <a:solidFill>
                <a:schemeClr val="tx1"/>
              </a:solidFill>
            </a:endParaRPr>
          </a:p>
        </p:txBody>
      </p:sp>
      <p:pic>
        <p:nvPicPr>
          <p:cNvPr id="2" name="Content Placeholder 1"/>
          <p:cNvPicPr>
            <a:picLocks noChangeAspect="1"/>
          </p:cNvPicPr>
          <p:nvPr>
            <p:ph idx="1"/>
          </p:nvPr>
        </p:nvPicPr>
        <p:blipFill>
          <a:blip r:embed="rId1"/>
          <a:stretch>
            <a:fillRect/>
          </a:stretch>
        </p:blipFill>
        <p:spPr>
          <a:xfrm>
            <a:off x="518795" y="1430020"/>
            <a:ext cx="10556875" cy="395732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p:txBody>
          <a:bodyPr/>
          <a:lstStyle/>
          <a:p>
            <a:r>
              <a:rPr lang="en-US" sz="2400" b="1" dirty="0"/>
              <a:t>COVID-19 Vaccine common side effects</a:t>
            </a:r>
            <a:endParaRPr lang="en-US" sz="2400" b="1" dirty="0"/>
          </a:p>
        </p:txBody>
      </p:sp>
      <p:sp>
        <p:nvSpPr>
          <p:cNvPr id="22" name="Text Box 21"/>
          <p:cNvSpPr txBox="1"/>
          <p:nvPr/>
        </p:nvSpPr>
        <p:spPr>
          <a:xfrm>
            <a:off x="6360795" y="1498600"/>
            <a:ext cx="5207635" cy="3291840"/>
          </a:xfrm>
          <a:prstGeom prst="rect">
            <a:avLst/>
          </a:prstGeom>
          <a:noFill/>
        </p:spPr>
        <p:txBody>
          <a:bodyPr wrap="square" rtlCol="0">
            <a:spAutoFit/>
          </a:bodyPr>
          <a:p>
            <a:pPr algn="just"/>
            <a:r>
              <a:rPr lang="en-US" sz="1600" b="1" dirty="0" err="1" smtClean="0">
                <a:solidFill>
                  <a:schemeClr val="tx1"/>
                </a:solidFill>
              </a:rPr>
              <a:t>The percentage of these adverse effects is reported to be lower with the Pfizer/BioNTech vaccine</a:t>
            </a:r>
            <a:endParaRPr lang="en-US" sz="1600" b="1" dirty="0" err="1" smtClean="0">
              <a:solidFill>
                <a:schemeClr val="tx1"/>
              </a:solidFill>
            </a:endParaRPr>
          </a:p>
          <a:p>
            <a:pPr algn="just"/>
            <a:r>
              <a:rPr lang="en-US" sz="1600" b="1" dirty="0" err="1" smtClean="0">
                <a:solidFill>
                  <a:schemeClr val="tx1"/>
                </a:solidFill>
              </a:rPr>
              <a:t>than with the Moderna vaccine, however the Moderna vaccine compared to the Pfizer</a:t>
            </a:r>
            <a:endParaRPr lang="en-US" sz="1600" b="1" dirty="0" err="1" smtClean="0">
              <a:solidFill>
                <a:schemeClr val="tx1"/>
              </a:solidFill>
            </a:endParaRPr>
          </a:p>
          <a:p>
            <a:pPr algn="just"/>
            <a:r>
              <a:rPr lang="en-US" sz="1600" b="1" dirty="0" err="1" smtClean="0">
                <a:solidFill>
                  <a:schemeClr val="tx1"/>
                </a:solidFill>
              </a:rPr>
              <a:t>vaccine is easier to transport and store because it is less temperature sensitive.</a:t>
            </a:r>
            <a:endParaRPr lang="en-US" sz="1600" b="1" dirty="0" err="1" smtClean="0">
              <a:solidFill>
                <a:schemeClr val="tx1"/>
              </a:solidFill>
            </a:endParaRPr>
          </a:p>
          <a:p>
            <a:pPr algn="just"/>
            <a:r>
              <a:rPr lang="en-US" sz="1600" b="1" dirty="0" err="1" smtClean="0">
                <a:solidFill>
                  <a:schemeClr val="tx1"/>
                </a:solidFill>
              </a:rPr>
              <a:t> </a:t>
            </a:r>
            <a:endParaRPr lang="en-US" sz="1600" b="1" dirty="0" err="1" smtClean="0">
              <a:solidFill>
                <a:schemeClr val="tx1"/>
              </a:solidFill>
            </a:endParaRPr>
          </a:p>
          <a:p>
            <a:pPr algn="just"/>
            <a:r>
              <a:rPr lang="en-US" sz="1600" b="1" dirty="0" err="1" smtClean="0">
                <a:solidFill>
                  <a:schemeClr val="tx1"/>
                </a:solidFill>
              </a:rPr>
              <a:t>It must be noted that because clinical trials are conducted under widely varying conditions, adverse reaction rates observed in the clinical trials of a vaccine cannot be directly compared with rates in the clinical trials of another vaccine and may not reflect the rates observed in practice. </a:t>
            </a:r>
            <a:endParaRPr lang="en-US" sz="1600" b="1" dirty="0" err="1" smtClean="0">
              <a:solidFill>
                <a:schemeClr val="tx1"/>
              </a:solidFill>
            </a:endParaRPr>
          </a:p>
        </p:txBody>
      </p:sp>
      <p:pic>
        <p:nvPicPr>
          <p:cNvPr id="5" name="Content Placeholder 4"/>
          <p:cNvPicPr>
            <a:picLocks noChangeAspect="1"/>
          </p:cNvPicPr>
          <p:nvPr>
            <p:ph idx="1"/>
          </p:nvPr>
        </p:nvPicPr>
        <p:blipFill>
          <a:blip r:embed="rId1"/>
          <a:stretch>
            <a:fillRect/>
          </a:stretch>
        </p:blipFill>
        <p:spPr>
          <a:xfrm>
            <a:off x="147320" y="1708150"/>
            <a:ext cx="5861050" cy="2872105"/>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pcOLV5mW.q0KZi163Pl1yLQ"/>
</p:tagLst>
</file>

<file path=ppt/tags/tag12.xml><?xml version="1.0" encoding="utf-8"?>
<p:tagLst xmlns:p="http://schemas.openxmlformats.org/presentationml/2006/main">
  <p:tag name="THINKCELLSHAPEDONOTDELETE" val="pjfCn1rK4qUmp5lj5ISq8xA"/>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pu8VTg_P6rkuq_fbZG2oYXw"/>
</p:tagLst>
</file>

<file path=ppt/tags/tag15.xml><?xml version="1.0" encoding="utf-8"?>
<p:tagLst xmlns:p="http://schemas.openxmlformats.org/presentationml/2006/main">
  <p:tag name="THINKCELLSHAPEDONOTDELETE" val="pPHldxlhBv0miWYXN6H8BTQ"/>
</p:tagLst>
</file>

<file path=ppt/tags/tag16.xml><?xml version="1.0" encoding="utf-8"?>
<p:tagLst xmlns:p="http://schemas.openxmlformats.org/presentationml/2006/main">
  <p:tag name="THINKCELLSHAPEDONOTDELETE" val="pxzY4oecJCE2aPB.u6loWPw"/>
</p:tagLst>
</file>

<file path=ppt/tags/tag17.xml><?xml version="1.0" encoding="utf-8"?>
<p:tagLst xmlns:p="http://schemas.openxmlformats.org/presentationml/2006/main">
  <p:tag name="THINKCELLSHAPEDONOTDELETE" val="phk.3W3rhiEqWtBDEsi7Xgw"/>
</p:tagLst>
</file>

<file path=ppt/tags/tag18.xml><?xml version="1.0" encoding="utf-8"?>
<p:tagLst xmlns:p="http://schemas.openxmlformats.org/presentationml/2006/main">
  <p:tag name="THINKCELLSHAPEDONOTDELETE" val="p1xI4A68crEiZSNCDbGy9gA"/>
</p:tagLst>
</file>

<file path=ppt/tags/tag19.xml><?xml version="1.0" encoding="utf-8"?>
<p:tagLst xmlns:p="http://schemas.openxmlformats.org/presentationml/2006/main">
  <p:tag name="THINKCELLSHAPEDONOTDELETE" val="poGq5J2dxDUm3Ma.7NhQKKA"/>
</p:tagLst>
</file>

<file path=ppt/tags/tag2.xml><?xml version="1.0" encoding="utf-8"?>
<p:tagLst xmlns:p="http://schemas.openxmlformats.org/presentationml/2006/main">
  <p:tag name="THINKCELLSHAPEDONOTDELETE" val="phk.3W3rhiEqWtBDEsi7Xgw"/>
</p:tagLst>
</file>

<file path=ppt/tags/tag20.xml><?xml version="1.0" encoding="utf-8"?>
<p:tagLst xmlns:p="http://schemas.openxmlformats.org/presentationml/2006/main">
  <p:tag name="THINKCELLSHAPEDONOTDELETE" val="pzTl75Tp2nEy_4PpazGLtVA"/>
</p:tagLst>
</file>

<file path=ppt/tags/tag3.xml><?xml version="1.0" encoding="utf-8"?>
<p:tagLst xmlns:p="http://schemas.openxmlformats.org/presentationml/2006/main">
  <p:tag name="THINKCELLSHAPEDONOTDELETE" val="pzTl75Tp2nEy_4PpazGLtVA"/>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rGIuHW8gFUKsEtFJDZy1QA"/>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hk.3W3rhiEqWtBDEsi7Xgw"/>
</p:tagLst>
</file>

<file path=ppt/tags/tag8.xml><?xml version="1.0" encoding="utf-8"?>
<p:tagLst xmlns:p="http://schemas.openxmlformats.org/presentationml/2006/main">
  <p:tag name="THINKCELLSHAPEDONOTDELETE" val="pzTl75Tp2nEy_4PpazGLtVA"/>
</p:tagLst>
</file>

<file path=ppt/tags/tag9.xml><?xml version="1.0" encoding="utf-8"?>
<p:tagLst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SlateVTI">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Nova">
      <a:majorFont>
        <a:latin typeface="Arial Nova Light"/>
        <a:ea typeface=""/>
        <a:cs typeface=""/>
      </a:majorFont>
      <a:minorFont>
        <a:latin typeface="Arial Nova"/>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fillRect/>
          </a:stretch>
        </a:blip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003399"/>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090430[[fn=Banded]]</Template>
  <TotalTime>0</TotalTime>
  <Words>7062</Words>
  <Application>WPS Presentation</Application>
  <PresentationFormat>Widescreen</PresentationFormat>
  <Paragraphs>105</Paragraphs>
  <Slides>13</Slides>
  <Notes>1</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0</vt:i4>
      </vt:variant>
      <vt:variant>
        <vt:lpstr>幻灯片标题</vt:lpstr>
      </vt:variant>
      <vt:variant>
        <vt:i4>13</vt:i4>
      </vt:variant>
    </vt:vector>
  </HeadingPairs>
  <TitlesOfParts>
    <vt:vector size="27" baseType="lpstr">
      <vt:lpstr>Arial</vt:lpstr>
      <vt:lpstr>SimSun</vt:lpstr>
      <vt:lpstr>Wingdings</vt:lpstr>
      <vt:lpstr>Trebuchet MS</vt:lpstr>
      <vt:lpstr>Wingdings 2</vt:lpstr>
      <vt:lpstr>Helvetica Light</vt:lpstr>
      <vt:lpstr>Arial</vt:lpstr>
      <vt:lpstr>Arial Nova</vt:lpstr>
      <vt:lpstr>Arial Nova Light</vt:lpstr>
      <vt:lpstr>Microsoft YaHei</vt:lpstr>
      <vt:lpstr>Arial Unicode MS</vt:lpstr>
      <vt:lpstr>Calibri</vt:lpstr>
      <vt:lpstr>SlateVTI</vt:lpstr>
      <vt:lpstr>ppt_Template_Capgemini</vt:lpstr>
      <vt:lpstr>Covid-19 Vaccines - Is there a best vaccine? </vt:lpstr>
      <vt:lpstr>Agenda</vt:lpstr>
      <vt:lpstr>Project Summary</vt:lpstr>
      <vt:lpstr>Ethics Statement</vt:lpstr>
      <vt:lpstr>Vaccines Categories</vt:lpstr>
      <vt:lpstr>US Covid-19 Vaccine Distribution by State/Jurisdiction</vt:lpstr>
      <vt:lpstr>Vaccines Components</vt:lpstr>
      <vt:lpstr>COVID-19 Vaccine Efficacy - Data available today consist of clinical trials and several quasi-observational studies</vt:lpstr>
      <vt:lpstr>COVID-19 Vaccine common side effects</vt:lpstr>
      <vt:lpstr>COVID-19 Vaccine - Interest Over time</vt:lpstr>
      <vt:lpstr>COVID-19 Vaccine - Recent study by CDC</vt:lpstr>
      <vt:lpstr>Conclusion</vt:lpstr>
      <vt:lpstr>Appendix</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ata Science</dc:title>
  <dc:creator>Supraja Rapuru</dc:creator>
  <cp:lastModifiedBy>Supraja</cp:lastModifiedBy>
  <cp:revision>72</cp:revision>
  <dcterms:created xsi:type="dcterms:W3CDTF">2021-03-21T15:48:00Z</dcterms:created>
  <dcterms:modified xsi:type="dcterms:W3CDTF">2021-05-17T00:1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KSOProductBuildVer">
    <vt:lpwstr>1033-11.2.0.10132</vt:lpwstr>
  </property>
</Properties>
</file>